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262" r:id="rId2"/>
    <p:sldId id="263" r:id="rId3"/>
    <p:sldId id="264" r:id="rId4"/>
    <p:sldId id="265" r:id="rId5"/>
    <p:sldId id="258" r:id="rId6"/>
    <p:sldId id="259" r:id="rId7"/>
    <p:sldId id="260" r:id="rId8"/>
    <p:sldId id="261" r:id="rId9"/>
  </p:sldIdLst>
  <p:sldSz cx="9144000" cy="6858000" type="screen4x3"/>
  <p:notesSz cx="9144000" cy="6858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99"/>
    <a:srgbClr val="FFCCFF"/>
    <a:srgbClr val="CCFFCC"/>
    <a:srgbClr val="FFFF66"/>
    <a:srgbClr val="99FF99"/>
    <a:srgbClr val="66FF66"/>
    <a:srgbClr val="FF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4" autoAdjust="0"/>
    <p:restoredTop sz="95501" autoAdjust="0"/>
  </p:normalViewPr>
  <p:slideViewPr>
    <p:cSldViewPr snapToGrid="0">
      <p:cViewPr varScale="1">
        <p:scale>
          <a:sx n="88" d="100"/>
          <a:sy n="88" d="100"/>
        </p:scale>
        <p:origin x="1494" y="8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3" d="100"/>
          <a:sy n="93" d="100"/>
        </p:scale>
        <p:origin x="208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D6764A-9C5A-4D46-BE98-7D84721446C7}" type="datetimeFigureOut">
              <a:rPr lang="ru-RU" smtClean="0"/>
              <a:t>22.01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14400" y="3300414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6513514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180013" y="6513514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4CC2723-DA3D-4287-85BA-9ABFE1A2F3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98820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/>
          </p:nvPr>
        </p:nvGraphicFramePr>
        <p:xfrm>
          <a:off x="1660" y="1688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0" y="1688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93798" y="349903"/>
            <a:ext cx="745397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675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3" y="37257"/>
            <a:ext cx="301291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ru-RU" sz="6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93796" y="508639"/>
            <a:ext cx="2399696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675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93848" y="668993"/>
            <a:ext cx="2111155" cy="1038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75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675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50736" y="5089561"/>
            <a:ext cx="5036085" cy="161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1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50736" y="5304705"/>
            <a:ext cx="5036085" cy="161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051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9" y="26"/>
            <a:ext cx="9140760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9755" tIns="34880" rIns="69755" bIns="34880" anchor="ctr"/>
          <a:lstStyle/>
          <a:p>
            <a:pPr defTabSz="683661" fontAlgn="base">
              <a:spcBef>
                <a:spcPct val="0"/>
              </a:spcBef>
              <a:spcAft>
                <a:spcPct val="0"/>
              </a:spcAft>
            </a:pPr>
            <a:endParaRPr lang="ru-RU" sz="1200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82" y="6574613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50719" y="3236821"/>
            <a:ext cx="5036084" cy="380873"/>
          </a:xfrm>
          <a:prstGeom prst="rect">
            <a:avLst/>
          </a:prstGeom>
        </p:spPr>
        <p:txBody>
          <a:bodyPr/>
          <a:lstStyle>
            <a:lvl1pPr>
              <a:defRPr sz="247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50719" y="3945701"/>
            <a:ext cx="5036084" cy="161711"/>
          </a:xfrm>
        </p:spPr>
        <p:txBody>
          <a:bodyPr>
            <a:spAutoFit/>
          </a:bodyPr>
          <a:lstStyle>
            <a:lvl1pPr>
              <a:defRPr sz="1051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3136" y="4617940"/>
            <a:ext cx="5850864" cy="22401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60" y="194385"/>
            <a:ext cx="9127803" cy="188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0742" y="276121"/>
            <a:ext cx="1534383" cy="1102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060956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71962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683661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751" smtClean="0">
                <a:solidFill>
                  <a:srgbClr val="000000"/>
                </a:solidFill>
              </a:rPr>
              <a:pPr defTabSz="683661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751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9" y="376684"/>
            <a:ext cx="6817285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737279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3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272849" y="1992454"/>
            <a:ext cx="1599797" cy="69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51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69029" y="4210466"/>
            <a:ext cx="1407437" cy="693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683661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51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1200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60" y="1990669"/>
            <a:ext cx="4389768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56999" y="376684"/>
            <a:ext cx="6817285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56997" y="27539"/>
            <a:ext cx="644407" cy="1617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683661" fontAlgn="base">
              <a:spcBef>
                <a:spcPct val="0"/>
              </a:spcBef>
              <a:spcAft>
                <a:spcPct val="0"/>
              </a:spcAft>
            </a:pPr>
            <a:r>
              <a:rPr lang="ru-RU" sz="1051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522" y="946660"/>
            <a:ext cx="8794113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21491" y="6305724"/>
            <a:ext cx="8722840" cy="115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751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21489" y="6578597"/>
            <a:ext cx="7002571" cy="1155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465027" indent="-465027" defTabSz="683007" fontAlgn="base">
              <a:spcBef>
                <a:spcPct val="0"/>
              </a:spcBef>
              <a:spcAft>
                <a:spcPct val="0"/>
              </a:spcAft>
              <a:tabLst>
                <a:tab pos="467447" algn="l"/>
              </a:tabLst>
            </a:pPr>
            <a:r>
              <a:rPr lang="ru-RU" sz="751" dirty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67" y="1281223"/>
            <a:ext cx="4350892" cy="387120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6836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b="1" dirty="0">
                  <a:solidFill>
                    <a:srgbClr val="000000"/>
                  </a:solidFill>
                </a:rPr>
                <a:t>Title</a:t>
              </a:r>
            </a:p>
            <a:p>
              <a:pPr defTabSz="683661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2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21489" y="6454684"/>
            <a:ext cx="8891763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755" tIns="69755" rIns="69755" bIns="69755" anchor="ctr"/>
          <a:lstStyle/>
          <a:p>
            <a:pPr defTabSz="68366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51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9183" y="902198"/>
            <a:ext cx="8885636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69755" tIns="69755" rIns="69755" bIns="69755" anchor="ctr"/>
          <a:lstStyle/>
          <a:p>
            <a:pPr defTabSz="683661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351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78324" y="42459"/>
            <a:ext cx="905491" cy="8017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9224" y="119002"/>
            <a:ext cx="1022737" cy="7346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273662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3007" rtl="0" eaLnBrk="1" fontAlgn="base" hangingPunct="1">
        <a:spcBef>
          <a:spcPct val="0"/>
        </a:spcBef>
        <a:spcAft>
          <a:spcPct val="0"/>
        </a:spcAft>
        <a:tabLst>
          <a:tab pos="272477" algn="l"/>
        </a:tabLst>
        <a:defRPr sz="1425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2pPr>
      <a:lvl3pPr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3pPr>
      <a:lvl4pPr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4pPr>
      <a:lvl5pPr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5pPr>
      <a:lvl6pPr marL="348756"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6pPr>
      <a:lvl7pPr marL="697538"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7pPr>
      <a:lvl8pPr marL="1046311"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8pPr>
      <a:lvl9pPr marL="1395077" algn="l" defTabSz="683007" rtl="0" eaLnBrk="1" fontAlgn="base" hangingPunct="1">
        <a:spcBef>
          <a:spcPct val="0"/>
        </a:spcBef>
        <a:spcAft>
          <a:spcPct val="0"/>
        </a:spcAft>
        <a:defRPr sz="1425" b="1">
          <a:solidFill>
            <a:schemeClr val="tx2"/>
          </a:solidFill>
          <a:latin typeface="Arial" charset="0"/>
        </a:defRPr>
      </a:lvl9pPr>
    </p:titleStyle>
    <p:bodyStyle>
      <a:lvl1pPr marL="0" indent="0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200">
          <a:solidFill>
            <a:schemeClr val="tx1"/>
          </a:solidFill>
          <a:latin typeface="+mn-lt"/>
          <a:ea typeface="+mn-ea"/>
          <a:cs typeface="+mn-cs"/>
        </a:defRPr>
      </a:lvl1pPr>
      <a:lvl2pPr marL="147743" indent="-14653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200">
          <a:solidFill>
            <a:schemeClr val="tx1"/>
          </a:solidFill>
          <a:latin typeface="+mn-lt"/>
        </a:defRPr>
      </a:lvl2pPr>
      <a:lvl3pPr marL="348756" indent="-199817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200">
          <a:solidFill>
            <a:schemeClr val="tx1"/>
          </a:solidFill>
          <a:latin typeface="+mn-lt"/>
        </a:defRPr>
      </a:lvl3pPr>
      <a:lvl4pPr marL="468659" indent="-11868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200">
          <a:solidFill>
            <a:schemeClr val="tx1"/>
          </a:solidFill>
          <a:latin typeface="+mn-lt"/>
        </a:defRPr>
      </a:lvl4pPr>
      <a:lvl5pPr marL="571982" indent="-9930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5pPr>
      <a:lvl6pPr marL="571982" indent="-9930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6pPr>
      <a:lvl7pPr marL="571982" indent="-9930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7pPr>
      <a:lvl8pPr marL="571982" indent="-9930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8pPr>
      <a:lvl9pPr marL="571982" indent="-99302" algn="l" defTabSz="68300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1pPr>
      <a:lvl2pPr marL="348756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2pPr>
      <a:lvl3pPr marL="697538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3pPr>
      <a:lvl4pPr marL="1046311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4pPr>
      <a:lvl5pPr marL="1395077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5pPr>
      <a:lvl6pPr marL="1743848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6pPr>
      <a:lvl7pPr marL="2092617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7pPr>
      <a:lvl8pPr marL="2441386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8pPr>
      <a:lvl9pPr marL="2790156" algn="l" defTabSz="697538" rtl="0" eaLnBrk="1" latinLnBrk="0" hangingPunct="1">
        <a:defRPr sz="13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jpeg"/><Relationship Id="rId12" Type="http://schemas.openxmlformats.org/officeDocument/2006/relationships/image" Target="../media/image16.jpeg"/><Relationship Id="rId2" Type="http://schemas.openxmlformats.org/officeDocument/2006/relationships/tags" Target="../tags/tag5.xml"/><Relationship Id="rId16" Type="http://schemas.openxmlformats.org/officeDocument/2006/relationships/image" Target="../media/image20.jpg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11" Type="http://schemas.openxmlformats.org/officeDocument/2006/relationships/image" Target="../media/image15.jpeg"/><Relationship Id="rId5" Type="http://schemas.openxmlformats.org/officeDocument/2006/relationships/image" Target="../media/image8.emf"/><Relationship Id="rId15" Type="http://schemas.openxmlformats.org/officeDocument/2006/relationships/image" Target="../media/image19.jpeg"/><Relationship Id="rId10" Type="http://schemas.openxmlformats.org/officeDocument/2006/relationships/image" Target="../media/image14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3.jpeg"/><Relationship Id="rId1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6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9.pn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651" y="936810"/>
            <a:ext cx="1459778" cy="1485845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841749" y="123150"/>
            <a:ext cx="31774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СР-проект</a:t>
            </a:r>
            <a:endParaRPr lang="ru-RU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Rectangle 1"/>
          <p:cNvSpPr>
            <a:spLocks noChangeArrowheads="1"/>
          </p:cNvSpPr>
          <p:nvPr/>
        </p:nvSpPr>
        <p:spPr bwMode="auto">
          <a:xfrm>
            <a:off x="1176812" y="1001326"/>
            <a:ext cx="7532915" cy="1194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униципальное бюджетное дошкольное образовательное учреждение «Детский сад № 85 комбинированного вида» города Орла</a:t>
            </a:r>
            <a:endParaRPr kumimoji="0" lang="ru-RU" altLang="ru-RU" sz="7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1800" b="0" i="1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302028, г. Орел, ул. Матросова, д. 54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460997" y="2677885"/>
            <a:ext cx="6964546" cy="35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7170" name="Рисунок 3" descr="https://uslugi.vsopen.ru/public/upload/4a53987c0b36dacbd6f0b62d10dcedd6_max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3714" y="3700606"/>
            <a:ext cx="4177846" cy="2783729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315686" y="2428067"/>
            <a:ext cx="8532131" cy="11387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2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ru-RU" altLang="ru-RU" sz="220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ПТИМИЗАЦИЯ ПРОЦЕССА </a:t>
            </a:r>
            <a:r>
              <a:rPr kumimoji="0" lang="ru-RU" altLang="ru-RU" sz="22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БОТЫ 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2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ТОДИЧЕСКОЙ СЛУЖБЫ ДОУ В МБДОУ ДЕТСКИЙ САД №85 В РАМКАХ РЕШЕНИЯ ГОДОВЫХ ЗАДАЧ</a:t>
            </a: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kumimoji="0" lang="ru-RU" altLang="ru-RU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41686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341" y="906034"/>
            <a:ext cx="836059" cy="85098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841749" y="123150"/>
            <a:ext cx="31774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СР-проект</a:t>
            </a:r>
            <a:endParaRPr lang="ru-RU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460997" y="2677885"/>
            <a:ext cx="6964546" cy="35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1066800" y="906034"/>
            <a:ext cx="7913914" cy="5232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sz="24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</a:t>
            </a:r>
            <a:r>
              <a:rPr kumimoji="0" lang="ru-RU" altLang="ru-RU" sz="2400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ОРМАТИВНО-ПРАВОВЫЕ</a:t>
            </a:r>
            <a:r>
              <a:rPr kumimoji="0" lang="ru-RU" altLang="ru-RU" sz="2400" i="0" u="none" strike="noStrike" cap="none" normalizeH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ОКУМЕНТЫ</a:t>
            </a:r>
            <a:r>
              <a:rPr kumimoji="0" lang="ru-RU" altLang="ru-RU" sz="28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kumimoji="0" lang="ru-RU" altLang="ru-RU" sz="20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85800" y="1565807"/>
            <a:ext cx="8371113" cy="21544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base">
              <a:spcAft>
                <a:spcPts val="600"/>
              </a:spcAft>
            </a:pP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Федеральный закон от 29 декабря 2012 г. № 273-ФЗ «ОБ ОБРАЗОВАНИИ В РОССИЙСКОЙ </a:t>
            </a:r>
            <a:r>
              <a:rPr lang="ru-RU" sz="14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ФЕДЕРАЦИИ»</a:t>
            </a:r>
            <a:endParaRPr lang="ru-RU" sz="1400" b="1" cap="all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  <a:p>
            <a:pPr algn="just" fontAlgn="base">
              <a:spcAft>
                <a:spcPts val="600"/>
              </a:spcAft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Статья 31. Организации, осуществляющие обучение</a:t>
            </a:r>
            <a:endParaRPr lang="ru-RU" sz="1600" b="1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ru-RU" sz="1600" b="1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</a:t>
            </a:r>
            <a:r>
              <a:rPr lang="ru-RU" sz="1600" b="1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6</a:t>
            </a:r>
            <a:r>
              <a:rPr lang="ru-RU" sz="16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Для 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осуществления образовательной деятельности организацией, осуществляющей обучение, в ее структуре создается </a:t>
            </a:r>
            <a:r>
              <a:rPr lang="ru-RU" sz="1600" u="sng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специализированное структурное образовательное подразделение. </a:t>
            </a:r>
            <a:endParaRPr lang="ru-RU" sz="1600" u="sng" dirty="0"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 algn="just">
              <a:spcAft>
                <a:spcPts val="0"/>
              </a:spcAft>
            </a:pP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Деятельность такого подразделения регулируется </a:t>
            </a:r>
            <a:r>
              <a:rPr lang="ru-RU" sz="1600" u="sng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положением</a:t>
            </a:r>
            <a:r>
              <a:rPr lang="ru-RU" sz="1600" dirty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разрабатываемым и утверждаемым организацией, осуществляющей </a:t>
            </a:r>
            <a:r>
              <a:rPr lang="ru-RU" sz="1600" dirty="0" smtClean="0">
                <a:solidFill>
                  <a:srgbClr val="000000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обучение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85800" y="4165457"/>
            <a:ext cx="8458200" cy="15388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sz="1400" b="1" cap="all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Государственная </a:t>
            </a:r>
            <a:r>
              <a:rPr lang="ru-RU" sz="1400" b="1" cap="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Times New Roman" panose="02020603050405020304" pitchFamily="18" charset="0"/>
              </a:rPr>
              <a:t>программа «Информационное общество»</a:t>
            </a:r>
            <a:r>
              <a:rPr lang="ru-RU" sz="1400" b="1" cap="all" dirty="0">
                <a:latin typeface="Arial Black" panose="020B0A04020102020204" pitchFamily="34" charset="0"/>
                <a:ea typeface="Times New Roman" panose="02020603050405020304" pitchFamily="18" charset="0"/>
              </a:rPr>
              <a:t>, </a:t>
            </a:r>
            <a:r>
              <a:rPr lang="ru-RU" sz="1400" b="1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твержденной постановлением Правительства Российской Федерации от 29  марта 2019 г. </a:t>
            </a:r>
            <a:r>
              <a:rPr lang="ru-RU" sz="1400" b="1" i="1" dirty="0" smtClean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№ </a:t>
            </a:r>
            <a:r>
              <a:rPr lang="ru-RU" sz="1400" b="1" i="1" dirty="0"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356-24</a:t>
            </a:r>
            <a:r>
              <a:rPr lang="ru-RU" sz="1400" b="1" i="1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 </a:t>
            </a:r>
          </a:p>
          <a:p>
            <a:pPr lvl="0" algn="just"/>
            <a:r>
              <a:rPr lang="ru-RU" sz="1600" b="1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Участники Государственной программы 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– МВД России, МИД России, Минкультуры России, </a:t>
            </a:r>
            <a:r>
              <a:rPr lang="ru-RU" sz="1600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Минобрнауки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России, </a:t>
            </a:r>
            <a:r>
              <a:rPr lang="ru-RU" b="1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Минпросвещения</a:t>
            </a:r>
            <a:r>
              <a:rPr lang="ru-RU" b="1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России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Минобороны России, Минэкономразвития России, Минтранс России, МЧС России, </a:t>
            </a:r>
            <a:r>
              <a:rPr lang="ru-RU" sz="1600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сморречфлот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ru-RU" sz="1600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сархив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ФСБ России, ФСО России, Росстат, </a:t>
            </a:r>
            <a:r>
              <a:rPr lang="ru-RU" sz="1600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саккредитация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 </a:t>
            </a:r>
            <a:r>
              <a:rPr lang="ru-RU" sz="1600" dirty="0" err="1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Роскомнадзор</a:t>
            </a:r>
            <a:r>
              <a:rPr lang="ru-RU" sz="1600" dirty="0">
                <a:solidFill>
                  <a:srgbClr val="333333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. </a:t>
            </a:r>
            <a:endParaRPr lang="ru-RU" sz="1600" dirty="0">
              <a:solidFill>
                <a:srgbClr val="000000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00589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1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2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9630" y="936810"/>
            <a:ext cx="836059" cy="850988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2841749" y="123150"/>
            <a:ext cx="3177473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36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СР-проект</a:t>
            </a:r>
            <a:endParaRPr lang="ru-RU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" name="Rectangle 4"/>
          <p:cNvSpPr>
            <a:spLocks noChangeArrowheads="1"/>
          </p:cNvSpPr>
          <p:nvPr/>
        </p:nvSpPr>
        <p:spPr bwMode="auto">
          <a:xfrm>
            <a:off x="382838" y="907108"/>
            <a:ext cx="8425542" cy="8494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lnSpc>
                <a:spcPct val="106000"/>
              </a:lnSpc>
              <a:spcAft>
                <a:spcPts val="0"/>
              </a:spcAft>
            </a:pPr>
            <a:r>
              <a:rPr lang="ru-RU" sz="2000" b="1" cap="all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анда </a:t>
            </a:r>
            <a:r>
              <a:rPr lang="ru-RU" sz="2000" b="1" cap="all" dirty="0" smtClean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а</a:t>
            </a:r>
          </a:p>
          <a:p>
            <a:pPr algn="ctr">
              <a:spcAft>
                <a:spcPts val="0"/>
              </a:spcAft>
            </a:pPr>
            <a:r>
              <a:rPr lang="ru-RU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</a:t>
            </a:r>
            <a:endParaRPr lang="ru-RU" sz="1400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spcAft>
                <a:spcPts val="0"/>
              </a:spcAft>
            </a:pPr>
            <a:r>
              <a:rPr lang="ru-RU" sz="1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БДОУ ДЕТСКИЙ САД №85 В РАМКАХ РЕШЕНИЯ ГОДОВЫХ ЗАДАЧ</a:t>
            </a:r>
            <a:r>
              <a:rPr lang="ru-RU" sz="14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»</a:t>
            </a:r>
            <a:endParaRPr lang="ru-RU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122" y="3851234"/>
            <a:ext cx="1005210" cy="1436135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581" y="1928237"/>
            <a:ext cx="964558" cy="1332833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279" y="1965613"/>
            <a:ext cx="957164" cy="1341244"/>
          </a:xfrm>
          <a:prstGeom prst="rect">
            <a:avLst/>
          </a:prstGeom>
        </p:spPr>
      </p:pic>
      <p:pic>
        <p:nvPicPr>
          <p:cNvPr id="224" name="Рисунок 22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2283" y="1952988"/>
            <a:ext cx="965236" cy="1399580"/>
          </a:xfrm>
          <a:prstGeom prst="rect">
            <a:avLst/>
          </a:prstGeom>
        </p:spPr>
      </p:pic>
      <p:pic>
        <p:nvPicPr>
          <p:cNvPr id="225" name="Рисунок 22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052" y="3905037"/>
            <a:ext cx="1076278" cy="1392333"/>
          </a:xfrm>
          <a:prstGeom prst="rect">
            <a:avLst/>
          </a:prstGeom>
        </p:spPr>
      </p:pic>
      <p:pic>
        <p:nvPicPr>
          <p:cNvPr id="226" name="Рисунок 225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7122" y="1931637"/>
            <a:ext cx="974678" cy="1351806"/>
          </a:xfrm>
          <a:prstGeom prst="rect">
            <a:avLst/>
          </a:prstGeom>
        </p:spPr>
      </p:pic>
      <p:pic>
        <p:nvPicPr>
          <p:cNvPr id="227" name="Рисунок 226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91149" y="3905038"/>
            <a:ext cx="1025460" cy="1392333"/>
          </a:xfrm>
          <a:prstGeom prst="rect">
            <a:avLst/>
          </a:prstGeom>
        </p:spPr>
      </p:pic>
      <p:pic>
        <p:nvPicPr>
          <p:cNvPr id="228" name="Рисунок 227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222" y="3874868"/>
            <a:ext cx="1033851" cy="1441051"/>
          </a:xfrm>
          <a:prstGeom prst="rect">
            <a:avLst/>
          </a:prstGeom>
        </p:spPr>
      </p:pic>
      <p:pic>
        <p:nvPicPr>
          <p:cNvPr id="229" name="Рисунок 2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077564" y="4039832"/>
            <a:ext cx="1422939" cy="1153350"/>
          </a:xfrm>
          <a:prstGeom prst="rect">
            <a:avLst/>
          </a:prstGeom>
        </p:spPr>
      </p:pic>
      <p:pic>
        <p:nvPicPr>
          <p:cNvPr id="230" name="Рисунок 229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2360" y="1959183"/>
            <a:ext cx="1128545" cy="1343821"/>
          </a:xfrm>
          <a:prstGeom prst="rect">
            <a:avLst/>
          </a:prstGeom>
        </p:spPr>
      </p:pic>
      <p:sp>
        <p:nvSpPr>
          <p:cNvPr id="234" name="TextBox 233"/>
          <p:cNvSpPr txBox="1"/>
          <p:nvPr/>
        </p:nvSpPr>
        <p:spPr>
          <a:xfrm>
            <a:off x="113831" y="3297236"/>
            <a:ext cx="170658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 smtClean="0"/>
              <a:t>Н. И. Грачева</a:t>
            </a:r>
          </a:p>
          <a:p>
            <a:pPr algn="ctr"/>
            <a:r>
              <a:rPr lang="ru-RU" sz="1000" b="1" dirty="0" smtClean="0"/>
              <a:t>Владелец процесса Руководитель проекта</a:t>
            </a:r>
            <a:endParaRPr lang="ru-RU" sz="1000" b="1" dirty="0"/>
          </a:p>
        </p:txBody>
      </p:sp>
      <p:sp>
        <p:nvSpPr>
          <p:cNvPr id="51" name="TextBox 50"/>
          <p:cNvSpPr txBox="1"/>
          <p:nvPr/>
        </p:nvSpPr>
        <p:spPr>
          <a:xfrm>
            <a:off x="1936538" y="3292169"/>
            <a:ext cx="152489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О. В. </a:t>
            </a:r>
            <a:r>
              <a:rPr lang="ru-RU" sz="1000" b="1" dirty="0" err="1" smtClean="0"/>
              <a:t>Бережнова</a:t>
            </a:r>
            <a:endParaRPr lang="ru-RU" sz="10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Эксперт</a:t>
            </a:r>
            <a:endParaRPr lang="ru-RU" sz="900" b="1" dirty="0" smtClean="0"/>
          </a:p>
        </p:txBody>
      </p:sp>
      <p:sp>
        <p:nvSpPr>
          <p:cNvPr id="52" name="TextBox 51"/>
          <p:cNvSpPr txBox="1"/>
          <p:nvPr/>
        </p:nvSpPr>
        <p:spPr>
          <a:xfrm>
            <a:off x="3789782" y="3303004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О. В. </a:t>
            </a:r>
            <a:r>
              <a:rPr lang="ru-RU" sz="1000" b="1" dirty="0" err="1" smtClean="0"/>
              <a:t>Афонин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3" name="TextBox 52"/>
          <p:cNvSpPr txBox="1"/>
          <p:nvPr/>
        </p:nvSpPr>
        <p:spPr>
          <a:xfrm>
            <a:off x="5617843" y="3310458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Т. Г. </a:t>
            </a:r>
            <a:r>
              <a:rPr lang="ru-RU" sz="1000" b="1" dirty="0" err="1" smtClean="0"/>
              <a:t>Пырсин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4" name="TextBox 53"/>
          <p:cNvSpPr txBox="1"/>
          <p:nvPr/>
        </p:nvSpPr>
        <p:spPr>
          <a:xfrm>
            <a:off x="7312320" y="3283443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Е. Е. Серебренников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5" name="TextBox 54"/>
          <p:cNvSpPr txBox="1"/>
          <p:nvPr/>
        </p:nvSpPr>
        <p:spPr>
          <a:xfrm>
            <a:off x="113831" y="5391899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Л. В. Овсянников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6" name="TextBox 55"/>
          <p:cNvSpPr txBox="1"/>
          <p:nvPr/>
        </p:nvSpPr>
        <p:spPr>
          <a:xfrm>
            <a:off x="1856843" y="5327975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Л. Г. Писарев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Координатор</a:t>
            </a:r>
            <a:endParaRPr lang="ru-RU" sz="1000" b="1" dirty="0"/>
          </a:p>
        </p:txBody>
      </p:sp>
      <p:sp>
        <p:nvSpPr>
          <p:cNvPr id="57" name="TextBox 56"/>
          <p:cNvSpPr txBox="1"/>
          <p:nvPr/>
        </p:nvSpPr>
        <p:spPr>
          <a:xfrm>
            <a:off x="3753468" y="5391899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С. </a:t>
            </a:r>
            <a:r>
              <a:rPr lang="ru-RU" sz="1000" b="1" dirty="0" err="1" smtClean="0"/>
              <a:t>С.Новиков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8" name="TextBox 57"/>
          <p:cNvSpPr txBox="1"/>
          <p:nvPr/>
        </p:nvSpPr>
        <p:spPr>
          <a:xfrm>
            <a:off x="5650093" y="5327975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Т. А. Быковская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  <p:sp>
        <p:nvSpPr>
          <p:cNvPr id="59" name="TextBox 58"/>
          <p:cNvSpPr txBox="1"/>
          <p:nvPr/>
        </p:nvSpPr>
        <p:spPr>
          <a:xfrm>
            <a:off x="7251067" y="5320525"/>
            <a:ext cx="1684282" cy="4770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Т. Ю. Бородина</a:t>
            </a:r>
            <a:endParaRPr lang="ru-RU" sz="900" b="1" dirty="0" smtClean="0"/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Основной исполнитель</a:t>
            </a:r>
            <a:endParaRPr lang="ru-RU" sz="1000" b="1" dirty="0"/>
          </a:p>
        </p:txBody>
      </p:sp>
    </p:spTree>
    <p:extLst>
      <p:ext uri="{BB962C8B-B14F-4D97-AF65-F5344CB8AC3E}">
        <p14:creationId xmlns:p14="http://schemas.microsoft.com/office/powerpoint/2010/main" val="19903406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3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10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1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2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22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1000"/>
                                        <p:tgtEl>
                                          <p:spTgt spid="2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7" fill="hold">
                      <p:stCondLst>
                        <p:cond delay="indefinite"/>
                      </p:stCondLst>
                      <p:childTnLst>
                        <p:par>
                          <p:cTn id="88" fill="hold">
                            <p:stCondLst>
                              <p:cond delay="0"/>
                            </p:stCondLst>
                            <p:childTnLst>
                              <p:par>
                                <p:cTn id="89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1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3" dur="1000" fill="hold"/>
                                        <p:tgtEl>
                                          <p:spTgt spid="2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4" dur="1000"/>
                                        <p:tgtEl>
                                          <p:spTgt spid="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6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7" dur="1000" fill="hold"/>
                                        <p:tgtEl>
                                          <p:spTgt spid="22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8" dur="1000"/>
                                        <p:tgtEl>
                                          <p:spTgt spid="2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4" dur="10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5" fill="hold">
                      <p:stCondLst>
                        <p:cond delay="indefinite"/>
                      </p:stCondLst>
                      <p:childTnLst>
                        <p:par>
                          <p:cTn id="116" fill="hold">
                            <p:stCondLst>
                              <p:cond delay="0"/>
                            </p:stCondLst>
                            <p:childTnLst>
                              <p:par>
                                <p:cTn id="117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2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2" dur="1000"/>
                                        <p:tgtEl>
                                          <p:spTgt spid="2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5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8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9" fill="hold">
                      <p:stCondLst>
                        <p:cond delay="indefinite"/>
                      </p:stCondLst>
                      <p:childTnLst>
                        <p:par>
                          <p:cTn id="130" fill="hold">
                            <p:stCondLst>
                              <p:cond delay="0"/>
                            </p:stCondLst>
                            <p:childTnLst>
                              <p:par>
                                <p:cTn id="131" presetID="3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6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9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1" dur="10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2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4" grpId="0"/>
      <p:bldP spid="51" grpId="0"/>
      <p:bldP spid="52" grpId="0"/>
      <p:bldP spid="53" grpId="0"/>
      <p:bldP spid="54" grpId="0"/>
      <p:bldP spid="55" grpId="0"/>
      <p:bldP spid="56" grpId="0"/>
      <p:bldP spid="57" grpId="0"/>
      <p:bldP spid="58" grpId="0"/>
      <p:bldP spid="59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065837" y="144921"/>
            <a:ext cx="727262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рточка 1-го ПСР-проекта </a:t>
            </a:r>
            <a:r>
              <a:rPr lang="ru-RU" sz="1400" kern="0" dirty="0" smtClean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«ОПТИМИЗАЦИЯ </a:t>
            </a:r>
            <a:r>
              <a:rPr lang="ru-RU" sz="1400" kern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ЦЕССА РАБОТЫ МЕТОДИЧЕСКОЙ СЛУЖБЫ ДОУ В РАМКАХ РЕШЕНИЯ ГОДОВЫХ ЗАДАЧ В МБДОУ ДЕТСКИЙ САД №85».</a:t>
            </a:r>
            <a:r>
              <a:rPr lang="ru-RU" sz="14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ru-RU" sz="14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1460997" y="2677885"/>
            <a:ext cx="6964546" cy="35904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2" name="Text Box 1"/>
          <p:cNvSpPr txBox="1">
            <a:spLocks noChangeArrowheads="1"/>
          </p:cNvSpPr>
          <p:nvPr/>
        </p:nvSpPr>
        <p:spPr bwMode="auto">
          <a:xfrm>
            <a:off x="118748" y="1054134"/>
            <a:ext cx="4355282" cy="2239720"/>
          </a:xfrm>
          <a:prstGeom prst="rect">
            <a:avLst/>
          </a:prstGeom>
          <a:solidFill>
            <a:srgbClr val="CCFFCC"/>
          </a:solidFill>
          <a:ln w="28575" cap="sq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  <a:extLst/>
        </p:spPr>
        <p:txBody>
          <a:bodyPr wrap="square" lIns="71971" tIns="17993" rIns="71971" bIns="35986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marL="228600" indent="-228600" algn="ctr" eaLnBrk="1" hangingPunct="1">
              <a:buClrTx/>
              <a:buFontTx/>
              <a:buAutoNum type="arabicPeriod"/>
            </a:pPr>
            <a:r>
              <a:rPr lang="ru-RU" sz="1200" b="1" u="sng" dirty="0" smtClean="0">
                <a:solidFill>
                  <a:srgbClr val="002060"/>
                </a:solidFill>
                <a:cs typeface="Calibri" panose="020F0502020204030204" pitchFamily="34" charset="0"/>
              </a:rPr>
              <a:t>Вовлеченные лица и рамки проекта:</a:t>
            </a:r>
          </a:p>
          <a:p>
            <a:pPr algn="just" eaLnBrk="1" hangingPunct="1"/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Заказчики процесса</a:t>
            </a:r>
            <a:r>
              <a:rPr lang="ru-RU" sz="1000" b="1" dirty="0" smtClean="0">
                <a:solidFill>
                  <a:srgbClr val="306FAE"/>
                </a:solidFill>
                <a:cs typeface="Calibri" panose="020F0502020204030204" pitchFamily="34" charset="0"/>
              </a:rPr>
              <a:t>: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педагоги и методист (старший воспитатель) ДОУ;</a:t>
            </a:r>
          </a:p>
          <a:p>
            <a:pPr algn="just" eaLnBrk="1" hangingPunct="1"/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Периметр проекта:</a:t>
            </a:r>
            <a:r>
              <a:rPr lang="ru-RU" sz="1000" u="sng" dirty="0" smtClean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</a:p>
          <a:p>
            <a:pPr algn="just" eaLnBrk="1" hangingPunct="1">
              <a:buClrTx/>
              <a:buFontTx/>
              <a:buNone/>
            </a:pP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1) Методическая служба ДОУ;</a:t>
            </a:r>
          </a:p>
          <a:p>
            <a:pPr algn="just" eaLnBrk="1" hangingPunct="1">
              <a:buClrTx/>
              <a:buFontTx/>
              <a:buNone/>
            </a:pP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2) Педагогический состав.</a:t>
            </a:r>
          </a:p>
          <a:p>
            <a:pPr algn="just" eaLnBrk="1" hangingPunct="1"/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Владелец процесса</a:t>
            </a:r>
            <a:r>
              <a:rPr lang="ru-RU" sz="1000" b="1" dirty="0" smtClean="0">
                <a:solidFill>
                  <a:srgbClr val="306FAE"/>
                </a:solidFill>
                <a:cs typeface="Calibri" panose="020F0502020204030204" pitchFamily="34" charset="0"/>
              </a:rPr>
              <a:t>: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заведующая ДОУ Н. И. Грачева</a:t>
            </a:r>
          </a:p>
          <a:p>
            <a:pPr algn="just" eaLnBrk="1" hangingPunct="1"/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Руководитель проекта:</a:t>
            </a:r>
            <a:r>
              <a:rPr lang="ru-RU" sz="1000" u="sng" dirty="0" smtClean="0">
                <a:solidFill>
                  <a:srgbClr val="000000"/>
                </a:solidFill>
                <a:cs typeface="Calibri" panose="020F0502020204030204" pitchFamily="34" charset="0"/>
              </a:rPr>
              <a:t> 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Н. И. Грачева - заведующая</a:t>
            </a:r>
          </a:p>
          <a:p>
            <a:pPr algn="just" eaLnBrk="1" hangingPunct="1"/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Команда </a:t>
            </a:r>
            <a:r>
              <a:rPr lang="ru-RU" sz="1000" b="1" u="sng" dirty="0" smtClean="0">
                <a:solidFill>
                  <a:srgbClr val="306FAE"/>
                </a:solidFill>
                <a:cs typeface="Calibri" panose="020F0502020204030204" pitchFamily="34" charset="0"/>
              </a:rPr>
              <a:t>проекта:</a:t>
            </a:r>
            <a:r>
              <a:rPr lang="ru-RU" sz="1000" u="sng" dirty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О.В. </a:t>
            </a:r>
            <a:r>
              <a:rPr lang="ru-RU" sz="10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Бережнова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кандидат филологических наук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, доцент, руководитель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кафедрой развития образовательных систем БУ ОО ДПО «Институт развития; О.В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</a:t>
            </a:r>
            <a:r>
              <a:rPr lang="ru-RU" sz="10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Афонина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методист; Т.Г. </a:t>
            </a:r>
            <a:r>
              <a:rPr lang="ru-RU" sz="10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Пырсина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– старший воспитатель; Е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Е. Серебренникова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воспитатель; Л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В. Овсянникова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воспитатель; </a:t>
            </a:r>
            <a:r>
              <a:rPr lang="ru-RU" sz="10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Л.Г.Писарева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– заместитель заведующей по АХР; С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</a:t>
            </a:r>
            <a:r>
              <a:rPr lang="ru-RU" sz="1000" dirty="0" err="1" smtClean="0">
                <a:solidFill>
                  <a:srgbClr val="000000"/>
                </a:solidFill>
                <a:cs typeface="Calibri" panose="020F0502020204030204" pitchFamily="34" charset="0"/>
              </a:rPr>
              <a:t>С.Новикова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воспитатель; Т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А. Быковская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учитель логопед; Т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. Ю. Бородина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– музыкальный </a:t>
            </a:r>
            <a:r>
              <a:rPr lang="ru-RU" sz="1000" dirty="0" smtClean="0">
                <a:solidFill>
                  <a:srgbClr val="000000"/>
                </a:solidFill>
                <a:cs typeface="Calibri" panose="020F0502020204030204" pitchFamily="34" charset="0"/>
              </a:rPr>
              <a:t>руководитель.</a:t>
            </a:r>
            <a:endParaRPr lang="ru-RU" sz="1000" dirty="0">
              <a:solidFill>
                <a:srgbClr val="000000"/>
              </a:solidFill>
              <a:cs typeface="Calibri" panose="020F0502020204030204" pitchFamily="34" charset="0"/>
            </a:endParaRPr>
          </a:p>
        </p:txBody>
      </p:sp>
      <p:sp>
        <p:nvSpPr>
          <p:cNvPr id="13" name="Text Box 2"/>
          <p:cNvSpPr txBox="1">
            <a:spLocks noChangeArrowheads="1"/>
          </p:cNvSpPr>
          <p:nvPr/>
        </p:nvSpPr>
        <p:spPr bwMode="auto">
          <a:xfrm>
            <a:off x="4539201" y="1054134"/>
            <a:ext cx="4506542" cy="2233146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38100" cap="sq">
            <a:solidFill>
              <a:schemeClr val="tx2">
                <a:lumMod val="75000"/>
                <a:lumOff val="25000"/>
              </a:schemeClr>
            </a:solidFill>
            <a:miter lim="800000"/>
            <a:headEnd/>
            <a:tailEnd/>
          </a:ln>
          <a:effectLst/>
          <a:extLst/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lnSpc>
                <a:spcPct val="114000"/>
              </a:lnSpc>
              <a:buClrTx/>
              <a:buFontTx/>
              <a:buNone/>
            </a:pPr>
            <a:r>
              <a:rPr lang="ru-RU" sz="1200" b="1" u="sng" dirty="0" smtClean="0">
                <a:solidFill>
                  <a:srgbClr val="002060"/>
                </a:solidFill>
                <a:cs typeface="Calibri" panose="020F0502020204030204" pitchFamily="34" charset="0"/>
              </a:rPr>
              <a:t>2. Обоснование выбора</a:t>
            </a:r>
          </a:p>
          <a:p>
            <a:pPr algn="just" eaLnBrk="1" hangingPunct="1">
              <a:lnSpc>
                <a:spcPct val="114000"/>
              </a:lnSpc>
            </a:pPr>
            <a:r>
              <a:rPr lang="ru-RU" sz="1100" b="1" u="sng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Ключевой риск</a:t>
            </a:r>
            <a:r>
              <a:rPr lang="ru-RU" sz="1100" b="1" dirty="0" smtClean="0">
                <a:solidFill>
                  <a:srgbClr val="000000"/>
                </a:solidFill>
                <a:cs typeface="Calibri" panose="020F0502020204030204" pitchFamily="34" charset="0"/>
              </a:rPr>
              <a:t>: </a:t>
            </a: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Снижение уровня педагогической и профессиональной компетентности </a:t>
            </a: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педагогов.</a:t>
            </a:r>
            <a:endParaRPr lang="ru-RU" sz="1100" dirty="0" smtClean="0">
              <a:solidFill>
                <a:srgbClr val="000000"/>
              </a:solidFill>
              <a:cs typeface="Calibri" panose="020F0502020204030204" pitchFamily="34" charset="0"/>
            </a:endParaRPr>
          </a:p>
          <a:p>
            <a:pPr algn="just" eaLnBrk="1" hangingPunct="1">
              <a:lnSpc>
                <a:spcPct val="114000"/>
              </a:lnSpc>
            </a:pPr>
            <a:r>
              <a:rPr lang="ru-RU" sz="1100" b="1" u="sng" dirty="0" smtClean="0">
                <a:solidFill>
                  <a:schemeClr val="tx2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Проблемы:</a:t>
            </a:r>
          </a:p>
          <a:p>
            <a:pPr algn="just" eaLnBrk="1" hangingPunct="1">
              <a:lnSpc>
                <a:spcPct val="114000"/>
              </a:lnSpc>
              <a:buFont typeface="Times New Roman" pitchFamily="18" charset="0"/>
              <a:buAutoNum type="arabicPeriod"/>
            </a:pP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 Максимальная загруженность педагогов;</a:t>
            </a:r>
          </a:p>
          <a:p>
            <a:pPr algn="just" eaLnBrk="1" hangingPunct="1">
              <a:lnSpc>
                <a:spcPct val="114000"/>
              </a:lnSpc>
              <a:buFont typeface="Times New Roman" pitchFamily="18" charset="0"/>
              <a:buAutoNum type="arabicPeriod"/>
            </a:pP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 Напряженный эмоциональный фон работников ДОУ;</a:t>
            </a:r>
          </a:p>
          <a:p>
            <a:pPr algn="just" eaLnBrk="1" hangingPunct="1">
              <a:lnSpc>
                <a:spcPct val="114000"/>
              </a:lnSpc>
              <a:buFont typeface="Times New Roman" pitchFamily="18" charset="0"/>
              <a:buAutoNum type="arabicPeriod"/>
            </a:pP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 Лишняя транспортировка методических пособий и материалов;</a:t>
            </a:r>
          </a:p>
          <a:p>
            <a:pPr algn="just" eaLnBrk="1" hangingPunct="1">
              <a:lnSpc>
                <a:spcPct val="114000"/>
              </a:lnSpc>
              <a:buFont typeface="Times New Roman" pitchFamily="18" charset="0"/>
              <a:buAutoNum type="arabicPeriod"/>
            </a:pP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 Лишние перемещения;</a:t>
            </a:r>
          </a:p>
          <a:p>
            <a:pPr algn="just" eaLnBrk="1" hangingPunct="1">
              <a:lnSpc>
                <a:spcPct val="114000"/>
              </a:lnSpc>
              <a:buFont typeface="Times New Roman" pitchFamily="18" charset="0"/>
              <a:buAutoNum type="arabicPeriod"/>
            </a:pPr>
            <a:r>
              <a:rPr lang="ru-RU" sz="1100" dirty="0" smtClean="0">
                <a:solidFill>
                  <a:srgbClr val="000000"/>
                </a:solidFill>
                <a:cs typeface="Calibri" panose="020F0502020204030204" pitchFamily="34" charset="0"/>
              </a:rPr>
              <a:t> Большая затратность времени педагогами на подготовку и посещение мероприятий в рамках организации работы по решению годовых задач в ДОУ</a:t>
            </a:r>
          </a:p>
        </p:txBody>
      </p:sp>
      <p:sp>
        <p:nvSpPr>
          <p:cNvPr id="14" name="Text Box 3"/>
          <p:cNvSpPr txBox="1">
            <a:spLocks noChangeArrowheads="1"/>
          </p:cNvSpPr>
          <p:nvPr/>
        </p:nvSpPr>
        <p:spPr bwMode="auto">
          <a:xfrm>
            <a:off x="118748" y="3444219"/>
            <a:ext cx="4331098" cy="2712467"/>
          </a:xfrm>
          <a:prstGeom prst="rect">
            <a:avLst/>
          </a:prstGeom>
          <a:solidFill>
            <a:srgbClr val="FFCCFF"/>
          </a:solidFill>
          <a:ln w="38100" cap="sq">
            <a:solidFill>
              <a:srgbClr val="0070C0"/>
            </a:solidFill>
            <a:miter lim="800000"/>
            <a:headEnd/>
            <a:tailEnd/>
          </a:ln>
          <a:effectLst/>
          <a:extLst/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200" b="1" u="sng" dirty="0" smtClean="0">
                <a:solidFill>
                  <a:srgbClr val="002060"/>
                </a:solidFill>
                <a:cs typeface="Calibri" panose="020F0502020204030204" pitchFamily="34" charset="0"/>
              </a:rPr>
              <a:t>3</a:t>
            </a:r>
            <a:r>
              <a:rPr lang="ru-RU" sz="1200" b="1" u="sng" dirty="0">
                <a:solidFill>
                  <a:srgbClr val="002060"/>
                </a:solidFill>
                <a:cs typeface="Calibri" panose="020F0502020204030204" pitchFamily="34" charset="0"/>
              </a:rPr>
              <a:t>. Цели и плановый </a:t>
            </a:r>
            <a:r>
              <a:rPr lang="ru-RU" sz="1200" b="1" u="sng" dirty="0" smtClean="0">
                <a:solidFill>
                  <a:srgbClr val="002060"/>
                </a:solidFill>
                <a:cs typeface="Calibri" panose="020F0502020204030204" pitchFamily="34" charset="0"/>
              </a:rPr>
              <a:t>эффект</a:t>
            </a:r>
          </a:p>
          <a:p>
            <a:pPr algn="ctr" eaLnBrk="1" hangingPunct="1">
              <a:buClrTx/>
              <a:buFontTx/>
              <a:buNone/>
            </a:pPr>
            <a:endParaRPr lang="ru-RU" sz="1200" b="1" u="sng" dirty="0" smtClean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200" b="1" u="sng" dirty="0" smtClean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200" b="1" u="sng" dirty="0">
              <a:solidFill>
                <a:srgbClr val="306FAE"/>
              </a:solidFill>
              <a:cs typeface="Times New Roman" pitchFamily="18" charset="0"/>
            </a:endParaRPr>
          </a:p>
          <a:p>
            <a:pPr algn="ctr" eaLnBrk="1" hangingPunct="1">
              <a:buClrTx/>
              <a:buFontTx/>
              <a:buNone/>
            </a:pPr>
            <a:endParaRPr lang="ru-RU" sz="1200" b="1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  <a:p>
            <a:pPr eaLnBrk="1" hangingPunct="1">
              <a:buClrTx/>
              <a:buFontTx/>
              <a:buNone/>
            </a:pPr>
            <a:endParaRPr lang="ru-RU" sz="1200" dirty="0">
              <a:solidFill>
                <a:srgbClr val="000000"/>
              </a:solidFill>
              <a:cs typeface="Times New Roman" pitchFamily="18" charset="0"/>
            </a:endParaRPr>
          </a:p>
        </p:txBody>
      </p:sp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2602538"/>
              </p:ext>
            </p:extLst>
          </p:nvPr>
        </p:nvGraphicFramePr>
        <p:xfrm>
          <a:off x="118747" y="3689871"/>
          <a:ext cx="4331098" cy="245546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88282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369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20590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392669"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 Black" panose="020B0A04020102020204" pitchFamily="34" charset="0"/>
                        </a:rPr>
                        <a:t>Наименование цели</a:t>
                      </a:r>
                      <a:endParaRPr lang="ru-RU" sz="1000" dirty="0">
                        <a:latin typeface="Arial Black" panose="020B0A040201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 Black" panose="020B0A04020102020204" pitchFamily="34" charset="0"/>
                        </a:rPr>
                        <a:t>Текущий показатель</a:t>
                      </a:r>
                      <a:endParaRPr lang="ru-RU" sz="1000" dirty="0">
                        <a:latin typeface="Arial Black" panose="020B0A040201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Arial Black" panose="020B0A04020102020204" pitchFamily="34" charset="0"/>
                        </a:rPr>
                        <a:t>Целевой показатель</a:t>
                      </a:r>
                      <a:endParaRPr lang="ru-RU" sz="1000" dirty="0">
                        <a:latin typeface="Arial Black" panose="020B0A040201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4722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нижение трудоемкости</a:t>
                      </a:r>
                      <a:r>
                        <a:rPr lang="ru-RU" sz="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процесса </a:t>
                      </a:r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рганизации работы по решению годовых задач </a:t>
                      </a:r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(</a:t>
                      </a:r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консультации, семинары, открытые просмотры)</a:t>
                      </a:r>
                      <a:endParaRPr lang="ru-RU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2 часа или 16 дней 4 часа рабочего времени</a:t>
                      </a:r>
                      <a:endParaRPr lang="ru-RU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 часа или 7 дней 6 часов рабочего времени</a:t>
                      </a:r>
                      <a:endParaRPr lang="ru-RU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552533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окращение расходов на методическую литературу, бумагу, печать и копирование.</a:t>
                      </a:r>
                      <a:endParaRPr lang="ru-RU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000 рублей</a:t>
                      </a:r>
                      <a:endParaRPr lang="ru-RU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</a:t>
                      </a:r>
                      <a:endParaRPr lang="ru-RU" sz="10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815543">
                <a:tc>
                  <a:txBody>
                    <a:bodyPr/>
                    <a:lstStyle/>
                    <a:p>
                      <a:pPr algn="ctr"/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Организация в одном из разделов методической</a:t>
                      </a:r>
                      <a:r>
                        <a:rPr lang="ru-RU" sz="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8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лужбы</a:t>
                      </a:r>
                      <a:r>
                        <a:rPr lang="ru-RU" sz="8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ДОУ современной формы работы с кадрами с применением цифровых технологий</a:t>
                      </a:r>
                      <a:endParaRPr lang="ru-RU" sz="8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Традиционная форма работы с кадрами</a:t>
                      </a:r>
                      <a:endParaRPr lang="ru-RU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Современная форма работы</a:t>
                      </a:r>
                      <a:r>
                        <a:rPr lang="ru-RU" sz="1000" b="1" baseline="0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с кадрами</a:t>
                      </a:r>
                      <a:endParaRPr lang="ru-RU" sz="1000" b="1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</a:tbl>
          </a:graphicData>
        </a:graphic>
      </p:graphicFrame>
      <p:sp>
        <p:nvSpPr>
          <p:cNvPr id="19" name="Text Box 4"/>
          <p:cNvSpPr txBox="1">
            <a:spLocks noChangeArrowheads="1"/>
          </p:cNvSpPr>
          <p:nvPr/>
        </p:nvSpPr>
        <p:spPr bwMode="auto">
          <a:xfrm>
            <a:off x="4539201" y="3444219"/>
            <a:ext cx="4506542" cy="2765150"/>
          </a:xfrm>
          <a:prstGeom prst="rect">
            <a:avLst/>
          </a:prstGeom>
          <a:solidFill>
            <a:srgbClr val="FFFF99"/>
          </a:solidFill>
          <a:ln w="38100" cap="sq">
            <a:solidFill>
              <a:srgbClr val="00B050"/>
            </a:solidFill>
            <a:miter lim="800000"/>
            <a:headEnd/>
            <a:tailEnd/>
          </a:ln>
          <a:effectLst/>
          <a:extLst/>
        </p:spPr>
        <p:txBody>
          <a:bodyPr wrap="square" lIns="91375" tIns="45864" rIns="91375" bIns="45864">
            <a:spAutoFit/>
          </a:bodyPr>
          <a:lstStyle>
            <a:lvl1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1pPr>
            <a:lvl2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2pPr>
            <a:lvl3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3pPr>
            <a:lvl4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4pPr>
            <a:lvl5pPr eaLnBrk="0" hangingPunct="0"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5pPr>
            <a:lvl6pPr marL="25146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6pPr>
            <a:lvl7pPr marL="29718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7pPr>
            <a:lvl8pPr marL="34290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8pPr>
            <a:lvl9pPr marL="3886200" indent="-228600" defTabSz="449263" eaLnBrk="0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itchFamily="18" charset="0"/>
              <a:tabLst>
                <a:tab pos="0" algn="l"/>
                <a:tab pos="447675" algn="l"/>
                <a:tab pos="896938" algn="l"/>
                <a:tab pos="1346200" algn="l"/>
                <a:tab pos="1795463" algn="l"/>
                <a:tab pos="2244725" algn="l"/>
                <a:tab pos="2693988" algn="l"/>
                <a:tab pos="3143250" algn="l"/>
                <a:tab pos="3592513" algn="l"/>
                <a:tab pos="4041775" algn="l"/>
                <a:tab pos="4491038" algn="l"/>
                <a:tab pos="4940300" algn="l"/>
                <a:tab pos="5389563" algn="l"/>
                <a:tab pos="5838825" algn="l"/>
                <a:tab pos="6288088" algn="l"/>
                <a:tab pos="6737350" algn="l"/>
                <a:tab pos="7186613" algn="l"/>
                <a:tab pos="7635875" algn="l"/>
                <a:tab pos="8085138" algn="l"/>
                <a:tab pos="8534400" algn="l"/>
                <a:tab pos="8983663" algn="l"/>
              </a:tabLst>
              <a:defRPr sz="3600">
                <a:solidFill>
                  <a:schemeClr val="bg1"/>
                </a:solidFill>
                <a:latin typeface="Calibri" pitchFamily="34" charset="0"/>
                <a:ea typeface="Microsoft YaHei" pitchFamily="34" charset="-122"/>
              </a:defRPr>
            </a:lvl9pPr>
          </a:lstStyle>
          <a:p>
            <a:pPr algn="ctr" eaLnBrk="1" hangingPunct="1">
              <a:buClrTx/>
              <a:buFontTx/>
              <a:buNone/>
            </a:pPr>
            <a:r>
              <a:rPr lang="ru-RU" sz="1200" b="1" u="sng" dirty="0" smtClean="0">
                <a:solidFill>
                  <a:srgbClr val="002060"/>
                </a:solidFill>
                <a:cs typeface="Calibri" panose="020F0502020204030204" pitchFamily="34" charset="0"/>
              </a:rPr>
              <a:t>4. Ключевые события</a:t>
            </a:r>
            <a:endParaRPr lang="ru-RU" sz="1200" b="1" u="sng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pPr marL="228600" indent="-228600">
              <a:spcBef>
                <a:spcPts val="1000"/>
              </a:spcBef>
              <a:buAutoNum type="arabicPeriod"/>
            </a:pPr>
            <a:r>
              <a:rPr lang="ru-RU" sz="1200" b="1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Старт </a:t>
            </a:r>
            <a:r>
              <a:rPr lang="ru-RU" sz="1200" b="1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проекта </a:t>
            </a: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–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03.01.2020 </a:t>
            </a:r>
            <a:endParaRPr lang="ru-RU" sz="1100" dirty="0" smtClean="0">
              <a:solidFill>
                <a:schemeClr val="tx1"/>
              </a:solidFill>
              <a:latin typeface="Arial Black" panose="020B0A04020102020204" pitchFamily="34" charset="0"/>
              <a:cs typeface="Calibri" panose="020F0502020204030204" pitchFamily="34" charset="0"/>
            </a:endParaRPr>
          </a:p>
          <a:p>
            <a:pPr>
              <a:spcBef>
                <a:spcPts val="1000"/>
              </a:spcBef>
            </a:pP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2. </a:t>
            </a:r>
            <a:r>
              <a:rPr lang="ru-RU" sz="1200" b="1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Диагностика и целевое состояние:</a:t>
            </a:r>
          </a:p>
          <a:p>
            <a:pPr marL="171450" lvl="0" indent="-17145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Разработка текущей карты процесса </a:t>
            </a: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– 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к 02.02.2020 </a:t>
            </a:r>
          </a:p>
          <a:p>
            <a:pPr marL="171450" lvl="0" indent="-171450">
              <a:spcBef>
                <a:spcPts val="1000"/>
              </a:spcBef>
              <a:buFont typeface="Arial" pitchFamily="34" charset="0"/>
              <a:buChar char="•"/>
            </a:pP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Разработка целевой </a:t>
            </a: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карты </a:t>
            </a: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процесса </a:t>
            </a: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– 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к 25.02.2020 </a:t>
            </a:r>
          </a:p>
          <a:p>
            <a:pPr>
              <a:spcBef>
                <a:spcPts val="1000"/>
              </a:spcBef>
            </a:pP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3. </a:t>
            </a: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Реализация проекта </a:t>
            </a: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–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25.02.2020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– 20.06.2020 </a:t>
            </a:r>
          </a:p>
          <a:p>
            <a:pPr>
              <a:spcBef>
                <a:spcPts val="1000"/>
              </a:spcBef>
            </a:pP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4. </a:t>
            </a: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Совещание по защите подходов к внедрению </a:t>
            </a:r>
            <a:r>
              <a:rPr lang="ru-RU" sz="11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–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25.02.2020 </a:t>
            </a:r>
          </a:p>
          <a:p>
            <a:pPr>
              <a:spcBef>
                <a:spcPts val="1000"/>
              </a:spcBef>
            </a:pP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5. </a:t>
            </a:r>
            <a:r>
              <a:rPr lang="ru-RU" sz="1200" i="1" dirty="0" smtClean="0">
                <a:solidFill>
                  <a:schemeClr val="tx1"/>
                </a:solidFill>
                <a:cs typeface="Calibri" panose="020F0502020204030204" pitchFamily="34" charset="0"/>
              </a:rPr>
              <a:t>Закрытие проекта (анализ результатов</a:t>
            </a:r>
            <a:r>
              <a:rPr lang="ru-RU" sz="1200" dirty="0" smtClean="0">
                <a:solidFill>
                  <a:schemeClr val="tx1"/>
                </a:solidFill>
                <a:cs typeface="Calibri" panose="020F0502020204030204" pitchFamily="34" charset="0"/>
              </a:rPr>
              <a:t>) 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– к </a:t>
            </a:r>
            <a:r>
              <a:rPr lang="ru-RU" sz="1200" dirty="0" smtClean="0">
                <a:solidFill>
                  <a:schemeClr val="tx1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30.06.2020 </a:t>
            </a:r>
          </a:p>
          <a:p>
            <a:pPr>
              <a:spcBef>
                <a:spcPts val="1000"/>
              </a:spcBef>
            </a:pPr>
            <a:endParaRPr lang="ru-RU" sz="1100" dirty="0" smtClean="0">
              <a:solidFill>
                <a:schemeClr val="tx1"/>
              </a:solidFill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2204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76" y="81820"/>
            <a:ext cx="708421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ТЕКУЩЕГО СОСТОЯНИЯ ПРОЦЕССА: </a:t>
            </a:r>
            <a: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В РАМКАХ РЕШЕНИЯ ГОДОВЫХ ЗАДАЧ В МБДОУ ДЕТСКИЙ САД №85».</a:t>
            </a:r>
            <a:endParaRPr lang="ru-RU" sz="16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65" y="972235"/>
            <a:ext cx="682811" cy="69500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862119" y="1031332"/>
            <a:ext cx="2631676" cy="553998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dirty="0">
                <a:latin typeface="Arial Black" panose="020B0A04020102020204" pitchFamily="34" charset="0"/>
              </a:rPr>
              <a:t>Заведующая издает приказ</a:t>
            </a:r>
          </a:p>
          <a:p>
            <a:pPr algn="ctr"/>
            <a:r>
              <a:rPr lang="ru-RU" sz="1000" dirty="0">
                <a:latin typeface="Arial Black" panose="020B0A04020102020204" pitchFamily="34" charset="0"/>
              </a:rPr>
              <a:t> об утверждении годовых задач  </a:t>
            </a:r>
          </a:p>
          <a:p>
            <a:pPr algn="ctr"/>
            <a:r>
              <a:rPr lang="ru-RU" sz="1000" dirty="0">
                <a:solidFill>
                  <a:srgbClr val="FF0000"/>
                </a:solidFill>
                <a:latin typeface="Arial Black" panose="020B0A04020102020204" pitchFamily="34" charset="0"/>
              </a:rPr>
              <a:t>1 ЧАС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107766" y="1907894"/>
            <a:ext cx="4392799" cy="4401205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00" b="1" dirty="0">
                <a:solidFill>
                  <a:prstClr val="black"/>
                </a:solidFill>
                <a:latin typeface="Arial Black" panose="020B0A04020102020204" pitchFamily="34" charset="0"/>
              </a:rPr>
              <a:t>Разработка и подготовка педагогами открытых занятий</a:t>
            </a:r>
          </a:p>
          <a:p>
            <a:pPr algn="ctr"/>
            <a:r>
              <a:rPr lang="ru-RU" sz="1000" b="1" dirty="0">
                <a:solidFill>
                  <a:prstClr val="black"/>
                </a:solidFill>
                <a:latin typeface="Arial Black" panose="020B0A04020102020204" pitchFamily="34" charset="0"/>
              </a:rPr>
              <a:t> (беседы и т.д.) с детьми</a:t>
            </a:r>
            <a:endParaRPr lang="ru-RU" sz="1000" dirty="0">
              <a:solidFill>
                <a:prstClr val="black"/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sz="1000" b="1" dirty="0">
                <a:solidFill>
                  <a:srgbClr val="FF0000"/>
                </a:solidFill>
                <a:latin typeface="Arial Black" panose="020B0A04020102020204" pitchFamily="34" charset="0"/>
              </a:rPr>
              <a:t>35 ЧАСОВ 30 МИНУТ РАБОЧЕГО ВРЕМЕНИ</a:t>
            </a:r>
            <a:endParaRPr lang="ru-RU" sz="1000" dirty="0">
              <a:solidFill>
                <a:srgbClr val="FF0000"/>
              </a:solidFill>
              <a:latin typeface="Arial Black" panose="020B0A0402010202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Определение и выбор форм работы с детьми: темы, названия занятия, формулировок в заданной образовательной области или по данной проблеме</a:t>
            </a:r>
            <a:r>
              <a:rPr lang="ru-RU" sz="1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 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Изучение научно-методической литературы по проблеме, по конкретной образовательной област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или образовательной области в системе дошкольного образования РФ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час 30 минут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или образовательной области в системе образования региона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 час 30 минут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Актуализация знаний методики по данной проблеме или образовательной област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Отбор программного содержания, методов, приемов и технологий в данной образовательной област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Определение цели и задач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Разработка конспекта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 часов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Согласование конспекта педагогического мероприятия с методистом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предварительная работа с детьми в данной образовательной област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Подбор и изготовление: дидактического, наглядного, демонстрационного и раздаточного материала и необходимого оборудования (разработка презентаций, слайд-шоу, видеороликов, мультфильмов, мультимедийной техники, мебели и др.)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0 часов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algn="just"/>
            <a:r>
              <a:rPr lang="ru-RU" sz="1000" b="1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ru-RU" sz="1000" dirty="0">
                <a:solidFill>
                  <a:prstClr val="black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Подготовка и организация помещения для проведения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000" dirty="0">
              <a:solidFill>
                <a:srgbClr val="FF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одзаголовок 2"/>
          <p:cNvSpPr txBox="1">
            <a:spLocks/>
          </p:cNvSpPr>
          <p:nvPr/>
        </p:nvSpPr>
        <p:spPr>
          <a:xfrm>
            <a:off x="4593233" y="1286774"/>
            <a:ext cx="4343399" cy="4904139"/>
          </a:xfrm>
          <a:prstGeom prst="rect">
            <a:avLst/>
          </a:prstGeom>
          <a:ln w="38100">
            <a:solidFill>
              <a:srgbClr val="00B0F0"/>
            </a:solidFill>
          </a:ln>
        </p:spPr>
        <p:txBody>
          <a:bodyPr vert="horz" lIns="91440" tIns="45720" rIns="91440" bIns="45720" rtlCol="0">
            <a:normAutofit fontScale="62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1600" b="1" dirty="0">
                <a:latin typeface="Arial Black" panose="020B0A04020102020204" pitchFamily="34" charset="0"/>
                <a:cs typeface="Times New Roman" panose="02020603050405020304" pitchFamily="18" charset="0"/>
              </a:rPr>
              <a:t>Подготовка методиста (старшего воспитателя) к проведению семинара (консультации)      </a:t>
            </a:r>
            <a:endParaRPr lang="ru-RU" sz="1600" b="1" cap="all" dirty="0">
              <a:solidFill>
                <a:srgbClr val="FF0000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1600" b="1" cap="all" dirty="0">
                <a:solidFill>
                  <a:srgbClr val="FF0000"/>
                </a:solidFill>
                <a:latin typeface="Arial Black" panose="020B0A04020102020204" pitchFamily="34" charset="0"/>
                <a:cs typeface="Times New Roman" panose="02020603050405020304" pitchFamily="18" charset="0"/>
              </a:rPr>
              <a:t>35 ЧАСОВ 45 минут рабочего времени</a:t>
            </a:r>
            <a:endParaRPr lang="ru-RU" sz="1600" b="1" dirty="0">
              <a:solidFill>
                <a:srgbClr val="FF0000"/>
              </a:solidFill>
              <a:latin typeface="Arial Black" panose="020B0A0402010202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плана организационно-методической работы на текущий месяц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гласование и утверждение плана на малом аппаратном совещании, утверждение календаря мероприятий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роведение оперативного совещания с педагогами ДОУ и информирование о запланированных мероприятиях, сроках их реализации, сроках выполнения и ответственных лицах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научных подходов и теоретических обоснований по проблеме посредством методической литературы и электронных ресурсов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в системе дошкольного образования РФ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в системе образования региона;</a:t>
            </a: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Актуализация знаний методики по данной проблеме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час 30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истематизация и классификация полученной информации и материалов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практических заданий для педагогов (анкеты, педагогические ситуации, тесты, проблемные вопросы, викторины, деловые игры и др.)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 часа 30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теоретического материала (памятки, консультации, выступления, лекции и др.)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часов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ллюстрация и наглядное моделирование теоретического материала) разработка презентаций, видеороликов, слайд-шоу)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 часов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бор и изготовление наглядного демонстрационного материала по проблеме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часов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3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Оформление выставки, демонстрационных залов: а) методической литературы по проблеме; </a:t>
            </a: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опытов работы системы дошкольного образования РФ и региона; с) дидактических материалов, игровых пособий и игрушек, демонстрационных систем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4</a:t>
            </a:r>
            <a:r>
              <a:rPr lang="ru-RU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готовка лекционного зала, организация рабочего места лектора и слушателей; </a:t>
            </a:r>
            <a:r>
              <a:rPr lang="ru-RU" sz="16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0"/>
              </a:spcBef>
            </a:pPr>
            <a:endParaRPr lang="ru-RU" sz="16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3514158" y="1270507"/>
            <a:ext cx="1059459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1890014" y="1604733"/>
            <a:ext cx="257175" cy="246995"/>
          </a:xfrm>
          <a:prstGeom prst="down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0" name="Пятно 2 9"/>
          <p:cNvSpPr/>
          <p:nvPr/>
        </p:nvSpPr>
        <p:spPr>
          <a:xfrm>
            <a:off x="921206" y="1641496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2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ятно 2 10"/>
          <p:cNvSpPr/>
          <p:nvPr/>
        </p:nvSpPr>
        <p:spPr>
          <a:xfrm>
            <a:off x="2370487" y="1631416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2" name="Пятно 2 11"/>
          <p:cNvSpPr/>
          <p:nvPr/>
        </p:nvSpPr>
        <p:spPr>
          <a:xfrm>
            <a:off x="0" y="2057714"/>
            <a:ext cx="540074" cy="389834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3" name="Пятно 2 12"/>
          <p:cNvSpPr/>
          <p:nvPr/>
        </p:nvSpPr>
        <p:spPr>
          <a:xfrm>
            <a:off x="3335604" y="1517419"/>
            <a:ext cx="539681" cy="418797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4" name="Пятно 2 13"/>
          <p:cNvSpPr/>
          <p:nvPr/>
        </p:nvSpPr>
        <p:spPr>
          <a:xfrm>
            <a:off x="4015730" y="2047854"/>
            <a:ext cx="531170" cy="389834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4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5" name="Пятно 2 14"/>
          <p:cNvSpPr/>
          <p:nvPr/>
        </p:nvSpPr>
        <p:spPr>
          <a:xfrm>
            <a:off x="4546901" y="1031332"/>
            <a:ext cx="525188" cy="360893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6" name="Пятно 2 15"/>
          <p:cNvSpPr/>
          <p:nvPr/>
        </p:nvSpPr>
        <p:spPr>
          <a:xfrm>
            <a:off x="5537623" y="988499"/>
            <a:ext cx="587570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8" name="Пятно 2 17"/>
          <p:cNvSpPr/>
          <p:nvPr/>
        </p:nvSpPr>
        <p:spPr>
          <a:xfrm>
            <a:off x="7027142" y="917369"/>
            <a:ext cx="549048" cy="36709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9" name="Пятно 2 18"/>
          <p:cNvSpPr/>
          <p:nvPr/>
        </p:nvSpPr>
        <p:spPr>
          <a:xfrm>
            <a:off x="8560866" y="1051957"/>
            <a:ext cx="551160" cy="399312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2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2712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" name="Прямоугольник 234"/>
          <p:cNvSpPr/>
          <p:nvPr/>
        </p:nvSpPr>
        <p:spPr>
          <a:xfrm>
            <a:off x="4879180" y="882040"/>
            <a:ext cx="4148139" cy="1691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6000"/>
              </a:lnSpc>
              <a:spcBef>
                <a:spcPts val="600"/>
              </a:spcBef>
            </a:pPr>
            <a:r>
              <a:rPr lang="ru-RU" sz="1000" b="1" dirty="0">
                <a:solidFill>
                  <a:srgbClr val="C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ПРОБЛЕМ</a:t>
            </a:r>
            <a:r>
              <a:rPr lang="ru-RU" sz="1000" b="1" dirty="0">
                <a:solidFill>
                  <a:srgbClr val="C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ru-RU" sz="1000" dirty="0">
              <a:solidFill>
                <a:srgbClr val="C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Максимальная загруженность педагогов;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Лишняя транспортировка методических пособий и материалов; </a:t>
            </a:r>
            <a:r>
              <a:rPr lang="ru-RU" sz="1000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Лишние перемещения;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 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апряженный эмоциональный фон работников ДОУ.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51" dirty="0">
                <a:solidFill>
                  <a:srgbClr val="00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Большая затратность времени педагогов на подготовку и посещение   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 мероприятий в рамках организации работы по решению годовых   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00" dirty="0">
                <a:solidFill>
                  <a:srgbClr val="00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    задач ДОУ.</a:t>
            </a:r>
            <a:endParaRPr lang="ru-RU" sz="1000" dirty="0">
              <a:solidFill>
                <a:srgbClr val="00000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76" y="81820"/>
            <a:ext cx="708421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ТЕКУЩЕГО СОСТОЯНИЯ процесса: </a:t>
            </a:r>
            <a: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В РАМКАХ РЕШЕНИЯ ГОДОВЫХ ЗАДАЧ В МБДОУ ДЕТСКИЙ САД №85».</a:t>
            </a:r>
            <a:endParaRPr lang="ru-RU" sz="16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152" y="6093730"/>
            <a:ext cx="630316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того: 13 дней  2 часа 15 минут рабочего времени</a:t>
            </a:r>
            <a:endParaRPr lang="ru-RU" sz="1600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65" y="972235"/>
            <a:ext cx="682811" cy="69500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366710" y="2407705"/>
            <a:ext cx="1095375" cy="1014508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1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ведение семинара в методический день (среда)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одзаголовок 2"/>
          <p:cNvSpPr txBox="1">
            <a:spLocks/>
          </p:cNvSpPr>
          <p:nvPr/>
        </p:nvSpPr>
        <p:spPr>
          <a:xfrm>
            <a:off x="1593057" y="986869"/>
            <a:ext cx="3209923" cy="5106859"/>
          </a:xfrm>
          <a:prstGeom prst="rect">
            <a:avLst/>
          </a:prstGeom>
          <a:ln w="38100">
            <a:solidFill>
              <a:srgbClr val="00B0F0"/>
            </a:solidFill>
          </a:ln>
        </p:spPr>
        <p:txBody>
          <a:bodyPr vert="horz" lIns="91440" tIns="45720" rIns="91440" bIns="45720" rtlCol="0">
            <a:normAutofit fontScale="475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ru-RU" sz="21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ематический контроль</a:t>
            </a:r>
            <a:endParaRPr lang="ru-RU" sz="21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ru-RU" sz="21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 ЧАСОВ</a:t>
            </a:r>
            <a:endParaRPr lang="ru-RU" sz="21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плана проведения тематического контроля; </a:t>
            </a:r>
            <a:endParaRPr lang="ru-RU" sz="1900" dirty="0" smtClean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 smtClean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час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гласование и утверждение плана на малом аппаратном совещании, утверждение сроков проведения, ответственных лиц;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дание приказа;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инструментария для выявления уровня состояния работы по проблеме во всех направлениях, определение критериев оценки;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часов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) разработка карты контроля для выявления уровня профессиональной компетенции педагогов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en-US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разработка карты контроля для определения соответствия РППС требованиям ФГОС ДО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) разработка карты контроля для выявления ЗУН детей;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разработка карты контроля для определения уровня работы с родителями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е) разработка карты контроля для определения соответствия ведения и заполнения документации требованиям;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Мониторинг состояния организации работы по проблеме по всем направлениям;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 часов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) выявление уровня компетенции педагогов – теоретических знаний, практических умений (проведение анкетирования, тестирования, посещение занятий, беседы с педагогами)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en-US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определение соответствия РППС требованиям ФГОС ДО (конкурс на лучшую организацию уголков (центров) по проблеме)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) определение уровня работы с родителями (посещение мероприятий с родителями, беседы, просмотр сайта (обращений в интернет-приемную); 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en-US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выявление ЗУН детей (анализ детских творческих работ, беседы с детьми, наблюдения за воспитателями, контрольный срез ЗУН по проблеме);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е) определение соответствия ведения и заполнения документации требованиям(проверка плана образовательной деятельности, журнала инструктажей с детьми, протоколов родительских собраний и материалов к ним, папок по работе с родителями);</a:t>
            </a: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1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1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истематизация и анализ уровня состояния работы в ДОУ по проблеме; </a:t>
            </a:r>
            <a:r>
              <a:rPr lang="ru-RU" sz="1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0"/>
              </a:spcBef>
            </a:pPr>
            <a:endParaRPr lang="ru-RU" sz="19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66718" y="3804383"/>
            <a:ext cx="1095367" cy="948593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ткрытый просмотр педагогических мероприятий</a:t>
            </a:r>
          </a:p>
          <a:p>
            <a:pPr algn="ctr">
              <a:lnSpc>
                <a:spcPct val="107000"/>
              </a:lnSpc>
            </a:pPr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ЧАС</a:t>
            </a:r>
            <a:endParaRPr lang="ru-RU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Стрелка вправо 6"/>
          <p:cNvSpPr/>
          <p:nvPr/>
        </p:nvSpPr>
        <p:spPr>
          <a:xfrm>
            <a:off x="-1" y="2874485"/>
            <a:ext cx="333373" cy="297340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8" name="Стрелка вправо 7"/>
          <p:cNvSpPr/>
          <p:nvPr/>
        </p:nvSpPr>
        <p:spPr>
          <a:xfrm>
            <a:off x="1" y="4143376"/>
            <a:ext cx="333371" cy="256869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047667" y="2732041"/>
            <a:ext cx="2383611" cy="3385286"/>
          </a:xfrm>
          <a:prstGeom prst="rect">
            <a:avLst/>
          </a:prstGeom>
          <a:noFill/>
          <a:ln w="38100">
            <a:solidFill>
              <a:schemeClr val="tx2">
                <a:lumMod val="50000"/>
                <a:lumOff val="50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дготовка к педсовету</a:t>
            </a:r>
            <a:endParaRPr lang="ru-RU" sz="1000" dirty="0">
              <a:latin typeface="Arial Black" panose="020B0A040201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10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 ЧАСОВ</a:t>
            </a:r>
            <a:endParaRPr lang="ru-RU" sz="1000" dirty="0">
              <a:latin typeface="Arial Black" panose="020B0A040201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плана проведения педагогического совета учреждения; </a:t>
            </a:r>
          </a:p>
          <a:p>
            <a:pPr algn="just">
              <a:lnSpc>
                <a:spcPct val="107000"/>
              </a:lnSpc>
            </a:pP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гласование и утверждение плана на малом аппаратном совещании, утверждение ответственных лиц; </a:t>
            </a:r>
          </a:p>
          <a:p>
            <a:pPr algn="just">
              <a:lnSpc>
                <a:spcPct val="107000"/>
              </a:lnSpc>
            </a:pP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дание приказа о проведении педагогического совета; </a:t>
            </a: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справки по результатам анализа состояния работы учреждения по проблеме; </a:t>
            </a: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провождение, оказание консультативной помощи ответственными лицами в подготовке к выступлениям на педагогическом совете; </a:t>
            </a: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9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готовка места и необходимого оборудования для проведения педагогического совета учреждения; </a:t>
            </a:r>
          </a:p>
          <a:p>
            <a:pPr algn="just">
              <a:lnSpc>
                <a:spcPct val="107000"/>
              </a:lnSpc>
            </a:pPr>
            <a:r>
              <a:rPr lang="ru-RU" sz="9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 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4808929" y="4182294"/>
            <a:ext cx="229809" cy="293425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2" name="Стрелка вправо 11"/>
          <p:cNvSpPr/>
          <p:nvPr/>
        </p:nvSpPr>
        <p:spPr>
          <a:xfrm>
            <a:off x="7458075" y="4189660"/>
            <a:ext cx="200027" cy="286056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75967" y="3988237"/>
            <a:ext cx="1351351" cy="685188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дагогический </a:t>
            </a:r>
          </a:p>
          <a:p>
            <a:pPr algn="ctr">
              <a:lnSpc>
                <a:spcPct val="107000"/>
              </a:lnSpc>
            </a:pPr>
            <a:r>
              <a:rPr lang="ru-RU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вет</a:t>
            </a:r>
          </a:p>
          <a:p>
            <a:pPr algn="ctr">
              <a:lnSpc>
                <a:spcPct val="107000"/>
              </a:lnSpc>
            </a:pPr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 ЧАСА</a:t>
            </a:r>
            <a:endParaRPr lang="ru-RU" sz="1200" b="1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8" name="Пятно 2 17"/>
          <p:cNvSpPr/>
          <p:nvPr/>
        </p:nvSpPr>
        <p:spPr>
          <a:xfrm>
            <a:off x="704851" y="2145210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7" name="Пятно 2 16"/>
          <p:cNvSpPr/>
          <p:nvPr/>
        </p:nvSpPr>
        <p:spPr>
          <a:xfrm>
            <a:off x="166685" y="2187515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19" name="Пятно 2 18"/>
          <p:cNvSpPr/>
          <p:nvPr/>
        </p:nvSpPr>
        <p:spPr>
          <a:xfrm>
            <a:off x="1209676" y="2183895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4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0" name="Пятно 2 19"/>
          <p:cNvSpPr/>
          <p:nvPr/>
        </p:nvSpPr>
        <p:spPr>
          <a:xfrm>
            <a:off x="1189175" y="3701972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1" name="Пятно 2 20"/>
          <p:cNvSpPr/>
          <p:nvPr/>
        </p:nvSpPr>
        <p:spPr>
          <a:xfrm>
            <a:off x="122029" y="3699561"/>
            <a:ext cx="504825" cy="385164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2" name="Пятно 2 21"/>
          <p:cNvSpPr/>
          <p:nvPr/>
        </p:nvSpPr>
        <p:spPr>
          <a:xfrm>
            <a:off x="105373" y="4550586"/>
            <a:ext cx="566137" cy="505689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4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3" name="Пятно 2 22"/>
          <p:cNvSpPr/>
          <p:nvPr/>
        </p:nvSpPr>
        <p:spPr>
          <a:xfrm>
            <a:off x="1189175" y="4587213"/>
            <a:ext cx="464604" cy="469061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6" name="Пятно 2 25"/>
          <p:cNvSpPr/>
          <p:nvPr/>
        </p:nvSpPr>
        <p:spPr>
          <a:xfrm>
            <a:off x="1364747" y="959409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4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7" name="Пятно 2 26"/>
          <p:cNvSpPr/>
          <p:nvPr/>
        </p:nvSpPr>
        <p:spPr>
          <a:xfrm>
            <a:off x="1869572" y="986867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8" name="Пятно 2 27"/>
          <p:cNvSpPr/>
          <p:nvPr/>
        </p:nvSpPr>
        <p:spPr>
          <a:xfrm>
            <a:off x="4026864" y="972235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29" name="Пятно 2 28"/>
          <p:cNvSpPr/>
          <p:nvPr/>
        </p:nvSpPr>
        <p:spPr>
          <a:xfrm>
            <a:off x="4433800" y="1041805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0" name="Пятно 2 29"/>
          <p:cNvSpPr/>
          <p:nvPr/>
        </p:nvSpPr>
        <p:spPr>
          <a:xfrm>
            <a:off x="4879180" y="2798400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1" name="Пятно 2 30"/>
          <p:cNvSpPr/>
          <p:nvPr/>
        </p:nvSpPr>
        <p:spPr>
          <a:xfrm>
            <a:off x="5628692" y="2500050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2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2" name="Пятно 2 31"/>
          <p:cNvSpPr/>
          <p:nvPr/>
        </p:nvSpPr>
        <p:spPr>
          <a:xfrm>
            <a:off x="6450252" y="2480153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3" name="Пятно 2 32"/>
          <p:cNvSpPr/>
          <p:nvPr/>
        </p:nvSpPr>
        <p:spPr>
          <a:xfrm>
            <a:off x="7048797" y="2823810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4" name="Пятно 2 33"/>
          <p:cNvSpPr/>
          <p:nvPr/>
        </p:nvSpPr>
        <p:spPr>
          <a:xfrm>
            <a:off x="7558088" y="3732459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1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5" name="Пятно 2 34"/>
          <p:cNvSpPr/>
          <p:nvPr/>
        </p:nvSpPr>
        <p:spPr>
          <a:xfrm>
            <a:off x="8351642" y="3683436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5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6" name="Пятно 2 35"/>
          <p:cNvSpPr/>
          <p:nvPr/>
        </p:nvSpPr>
        <p:spPr>
          <a:xfrm>
            <a:off x="7487654" y="4498630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4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  <p:sp>
        <p:nvSpPr>
          <p:cNvPr id="37" name="Пятно 2 36"/>
          <p:cNvSpPr/>
          <p:nvPr/>
        </p:nvSpPr>
        <p:spPr>
          <a:xfrm>
            <a:off x="8540358" y="4545988"/>
            <a:ext cx="504825" cy="304800"/>
          </a:xfrm>
          <a:prstGeom prst="irregularSeal2">
            <a:avLst/>
          </a:prstGeom>
          <a:solidFill>
            <a:srgbClr val="FF0000"/>
          </a:solidFill>
          <a:ln w="12700" cap="flat" cmpd="sng" algn="ctr">
            <a:solidFill>
              <a:srgbClr val="FF0000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14354">
              <a:defRPr/>
            </a:pPr>
            <a:r>
              <a:rPr lang="ru-RU" kern="0" dirty="0" smtClean="0">
                <a:solidFill>
                  <a:sysClr val="windowText" lastClr="000000"/>
                </a:solidFill>
              </a:rPr>
              <a:t>3</a:t>
            </a:r>
            <a:endParaRPr lang="ru-RU" kern="0" dirty="0">
              <a:solidFill>
                <a:sysClr val="windowText" lastClr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58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76" y="81820"/>
            <a:ext cx="708421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ЦЕЛЕВОГО СОСТОЯНИЯ </a:t>
            </a:r>
            <a:r>
              <a:rPr lang="ru-RU" sz="2000" cap="all" dirty="0" err="1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ЦЕССА</a:t>
            </a: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В РАМКАХ РЕШЕНИЯ ГОДОВЫХ ЗАДАЧ В МБДОУ ДЕТСКИЙ САД №85».</a:t>
            </a:r>
            <a:endParaRPr lang="ru-RU" sz="16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65" y="972235"/>
            <a:ext cx="682811" cy="695004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790576" y="1137665"/>
            <a:ext cx="2223837" cy="607987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200" b="1" dirty="0">
                <a:latin typeface="Calibri" panose="020F0502020204030204" pitchFamily="34" charset="0"/>
                <a:cs typeface="Calibri" panose="020F0502020204030204" pitchFamily="34" charset="0"/>
              </a:rPr>
              <a:t>Заведующая</a:t>
            </a:r>
            <a:r>
              <a:rPr lang="ru-RU" sz="1051" b="1" dirty="0">
                <a:latin typeface="Calibri" panose="020F0502020204030204" pitchFamily="34" charset="0"/>
                <a:cs typeface="Calibri" panose="020F0502020204030204" pitchFamily="34" charset="0"/>
              </a:rPr>
              <a:t> издает приказ</a:t>
            </a:r>
          </a:p>
          <a:p>
            <a:pPr algn="ctr"/>
            <a:r>
              <a:rPr lang="ru-RU" sz="1051" b="1" dirty="0">
                <a:latin typeface="Calibri" panose="020F0502020204030204" pitchFamily="34" charset="0"/>
                <a:cs typeface="Calibri" panose="020F0502020204030204" pitchFamily="34" charset="0"/>
              </a:rPr>
              <a:t> об утверждении годовых задач  </a:t>
            </a:r>
          </a:p>
          <a:p>
            <a:pPr algn="ctr"/>
            <a:r>
              <a:rPr lang="ru-RU" sz="1100" b="1" dirty="0">
                <a:solidFill>
                  <a:srgbClr val="FF0000"/>
                </a:solidFill>
                <a:latin typeface="Arial Black" panose="020B0A04020102020204" pitchFamily="34" charset="0"/>
                <a:cs typeface="Calibri" panose="020F0502020204030204" pitchFamily="34" charset="0"/>
              </a:rPr>
              <a:t>1 ЧАС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50372" y="2260189"/>
            <a:ext cx="2845240" cy="3731342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зработка и подготовка педагогами планового занятия</a:t>
            </a:r>
          </a:p>
          <a:p>
            <a:pPr algn="ctr">
              <a:lnSpc>
                <a:spcPct val="107000"/>
              </a:lnSpc>
            </a:pPr>
            <a:r>
              <a:rPr lang="ru-RU" sz="10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беседы и т.д.) с детьми</a:t>
            </a: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</a:pPr>
            <a:r>
              <a:rPr lang="ru-RU" sz="11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 ЧАС</a:t>
            </a:r>
            <a:endParaRPr lang="ru-RU" sz="11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пределение и выбор форм работы с детьми: темы, названия занятия, формулировок в заданной образовательной области или по данной проблеме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Отбор программного содержания, методов, приемов и технологий в данной образовательной област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Определение цели и задач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орректировка конспекта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бор и изготовление: дидактического, наглядного, демонстрационного и раздаточного материала и необходимого оборудования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0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1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готовка и организация помещения для проведения педагогического мероприятия с детьми; </a:t>
            </a:r>
            <a:r>
              <a:rPr lang="ru-RU" sz="1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минут</a:t>
            </a:r>
            <a:endParaRPr lang="ru-RU" sz="1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одзаголовок 2"/>
          <p:cNvSpPr txBox="1">
            <a:spLocks/>
          </p:cNvSpPr>
          <p:nvPr/>
        </p:nvSpPr>
        <p:spPr>
          <a:xfrm>
            <a:off x="3216874" y="1084918"/>
            <a:ext cx="3865331" cy="5090588"/>
          </a:xfrm>
          <a:prstGeom prst="rect">
            <a:avLst/>
          </a:prstGeom>
          <a:ln w="38100">
            <a:solidFill>
              <a:srgbClr val="00B0F0"/>
            </a:solidFill>
          </a:ln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0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дготовка методиста (старшего воспитателя) к проведению семинара (консультации)</a:t>
            </a:r>
            <a:r>
              <a:rPr lang="ru-RU" sz="4000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4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4 ЧАСА 15 МИНУТ</a:t>
            </a:r>
          </a:p>
          <a:p>
            <a:pPr>
              <a:lnSpc>
                <a:spcPct val="107000"/>
              </a:lnSpc>
              <a:spcBef>
                <a:spcPts val="0"/>
              </a:spcBef>
            </a:pPr>
            <a:endParaRPr lang="ru-RU" sz="4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плана организационно-методической работы на текущий месяц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гласование и утверждение плана на малом аппаратном совещании, утверждение календаря мероприятий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роведение оперативного совещания с педагогами ДОУ и информирование о запланированных мероприятиях, сроках их реализации, сроках выполнения и ответственных лицах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5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научных подходов и теоретических обоснований по проблеме посредством методической литературы и электронных ресурсов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в системе дошкольного образования РФ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учение опыта работы по данной проблеме в системе образования региона;</a:t>
            </a: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Актуализация знаний методики по данной проблеме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час 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истематизация и классификация полученной информации и материалов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9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практических заданий для педагогов (анкеты, педагогические ситуации, тесты, проблемные вопросы, викторины, деловые игры и др.)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 часа 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0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теоретического материала (памятки, консультации, выступления, лекции и др.)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часов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ллюстрация и наглядное моделирование теоретического материала) разработка презентаций, видеороликов, слайд-шоу)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 часов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2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Подбор и изготовление наглядного демонстрационного материала по проблеме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 часов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3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Оформление выставки: а) методической литературы по проблеме; </a:t>
            </a:r>
            <a:r>
              <a:rPr lang="en-US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опытов работы системы дошкольного образования РФ и региона; с) дидактических материалов, игровых пособий и игрушек, демонстрационных систем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час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spcBef>
                <a:spcPts val="0"/>
              </a:spcBef>
            </a:pPr>
            <a:endParaRPr lang="ru-RU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3011168" y="1319738"/>
            <a:ext cx="208951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6" name="Стрелка вниз 5"/>
          <p:cNvSpPr/>
          <p:nvPr/>
        </p:nvSpPr>
        <p:spPr>
          <a:xfrm>
            <a:off x="1796145" y="1754155"/>
            <a:ext cx="234937" cy="497400"/>
          </a:xfrm>
          <a:prstGeom prst="down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rgbClr val="FFFF00"/>
              </a:solidFill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7031793" y="3630212"/>
            <a:ext cx="285152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7324725" y="3039322"/>
            <a:ext cx="1394809" cy="1983492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Загрузка и выгрузка всех материалов на стационарный девайс </a:t>
            </a:r>
          </a:p>
          <a:p>
            <a:pPr algn="ctr">
              <a:lnSpc>
                <a:spcPct val="107000"/>
              </a:lnSpc>
            </a:pPr>
            <a:r>
              <a:rPr lang="ru-RU" sz="1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компьютер, ноутбук) </a:t>
            </a:r>
          </a:p>
          <a:p>
            <a:pPr algn="ctr">
              <a:lnSpc>
                <a:spcPct val="107000"/>
              </a:lnSpc>
            </a:pPr>
            <a:r>
              <a:rPr lang="ru-RU" sz="1051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051" dirty="0">
              <a:latin typeface="Arial Black" panose="020B0A0402010202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07000"/>
              </a:lnSpc>
            </a:pPr>
            <a:r>
              <a:rPr lang="ru-RU" sz="9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Ознакомление с материалами педагогов в удобное для них время (самостоятельно)</a:t>
            </a:r>
            <a:endParaRPr lang="ru-RU" sz="9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8719533" y="3630211"/>
            <a:ext cx="424467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15" name="Выноска-облако 14"/>
          <p:cNvSpPr/>
          <p:nvPr/>
        </p:nvSpPr>
        <p:spPr>
          <a:xfrm>
            <a:off x="220785" y="2039647"/>
            <a:ext cx="600075" cy="355010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Выноска-облако 18"/>
          <p:cNvSpPr/>
          <p:nvPr/>
        </p:nvSpPr>
        <p:spPr>
          <a:xfrm>
            <a:off x="6892922" y="1018312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100" dirty="0">
              <a:solidFill>
                <a:schemeClr val="accent3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Выноска-облако 19"/>
          <p:cNvSpPr/>
          <p:nvPr/>
        </p:nvSpPr>
        <p:spPr>
          <a:xfrm>
            <a:off x="2588499" y="2039647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Выноска-облако 22"/>
          <p:cNvSpPr/>
          <p:nvPr/>
        </p:nvSpPr>
        <p:spPr>
          <a:xfrm>
            <a:off x="8415072" y="2708146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Выноска-облако 25"/>
          <p:cNvSpPr/>
          <p:nvPr/>
        </p:nvSpPr>
        <p:spPr>
          <a:xfrm>
            <a:off x="7082205" y="2683691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12565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707572" y="954938"/>
            <a:ext cx="8350704" cy="17243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6000"/>
              </a:lnSpc>
              <a:spcAft>
                <a:spcPts val="800"/>
              </a:spcAft>
            </a:pPr>
            <a:r>
              <a:rPr lang="ru-RU" sz="1200" b="1" dirty="0">
                <a:solidFill>
                  <a:srgbClr val="00B05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УЛУЧШЕНИЙ</a:t>
            </a:r>
            <a:r>
              <a:rPr lang="ru-RU" sz="1100" b="1" dirty="0">
                <a:solidFill>
                  <a:srgbClr val="00B05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:</a:t>
            </a:r>
            <a:endParaRPr lang="ru-RU" sz="1100" dirty="0">
              <a:solidFill>
                <a:srgbClr val="00B050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ts val="1000"/>
              </a:lnSpc>
              <a:spcAft>
                <a:spcPts val="800"/>
              </a:spcAft>
            </a:pPr>
            <a:r>
              <a:rPr lang="ru-RU" sz="133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 </a:t>
            </a:r>
            <a:r>
              <a:rPr lang="ru-RU" sz="1100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. 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Упорядочено место хранения (девайс) необходимого методического материала для педагогов по решению педагогических    задач;</a:t>
            </a:r>
          </a:p>
          <a:p>
            <a:pPr algn="just">
              <a:lnSpc>
                <a:spcPts val="1000"/>
              </a:lnSpc>
              <a:spcAft>
                <a:spcPts val="800"/>
              </a:spcAft>
            </a:pPr>
            <a:r>
              <a:rPr lang="ru-RU" sz="1100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2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сключение лишних перемещений; </a:t>
            </a:r>
          </a:p>
          <a:p>
            <a:pPr algn="just">
              <a:lnSpc>
                <a:spcPts val="1000"/>
              </a:lnSpc>
              <a:spcAft>
                <a:spcPts val="800"/>
              </a:spcAft>
            </a:pPr>
            <a:r>
              <a:rPr lang="ru-RU" sz="1100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     3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сключение лишней транспортировки методических пособий и материалов;</a:t>
            </a:r>
          </a:p>
          <a:p>
            <a:pPr algn="just">
              <a:lnSpc>
                <a:spcPts val="1000"/>
              </a:lnSpc>
              <a:spcAft>
                <a:spcPts val="800"/>
              </a:spcAft>
            </a:pP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                          </a:t>
            </a:r>
            <a:r>
              <a:rPr lang="ru-RU" sz="1100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  <a:r>
              <a:rPr lang="ru-RU" sz="11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нятие напряжённости труда педагогических работников в ДОУ.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100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                           5. </a:t>
            </a:r>
            <a:r>
              <a:rPr lang="ru-RU" sz="105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Сокращение времени педагогов на подготовку и посещение мероприятий в рамках организации работы по    </a:t>
            </a:r>
          </a:p>
          <a:p>
            <a:pPr algn="just">
              <a:lnSpc>
                <a:spcPts val="1000"/>
              </a:lnSpc>
              <a:spcBef>
                <a:spcPts val="600"/>
              </a:spcBef>
            </a:pPr>
            <a:r>
              <a:rPr lang="ru-RU" sz="1051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                                                            решению годовых  задач ДОУ.</a:t>
            </a:r>
          </a:p>
        </p:txBody>
      </p:sp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1144245" y="858517"/>
          <a:ext cx="1215" cy="1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245" y="858517"/>
                        <a:ext cx="1215" cy="121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09676" y="81820"/>
            <a:ext cx="7084219" cy="800219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</a:pP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Карта ЦЕЛЕВОГО СОСТОЯНИЯ </a:t>
            </a:r>
            <a:r>
              <a:rPr lang="ru-RU" sz="2000" cap="all" dirty="0" err="1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роЦЕССА</a:t>
            </a:r>
            <a:r>
              <a:rPr lang="ru-RU" sz="2000" cap="all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: </a:t>
            </a:r>
            <a: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/>
            </a:r>
            <a:br>
              <a:rPr lang="ru-RU" sz="140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</a:br>
            <a:r>
              <a:rPr lang="ru-RU" sz="1600" b="0" dirty="0">
                <a:ln w="11113" cap="flat" cmpd="sng" algn="ctr">
                  <a:solidFill>
                    <a:srgbClr val="FF0000"/>
                  </a:solidFill>
                  <a:prstDash val="solid"/>
                  <a:round/>
                </a:ln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«ОПТИМИЗАЦИЯ ПРОЦЕССА РАБОТЫ МЕТОДИЧЕСКОЙ СЛУЖБЫ ДОУ В РАМКАХ РЕШЕНИЯ ГОДОВЫХ ЗАДАЧ В МБДОУ ДЕТСКИЙ САД №85».</a:t>
            </a:r>
            <a:endParaRPr lang="ru-RU" sz="16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71775" y="6134787"/>
            <a:ext cx="628650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6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того: 5 дней 6 часов 15 минут рабочего времени</a:t>
            </a:r>
            <a:endParaRPr lang="ru-RU" sz="1200" dirty="0">
              <a:solidFill>
                <a:srgbClr val="FF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7765" y="972235"/>
            <a:ext cx="682811" cy="695004"/>
          </a:xfrm>
          <a:prstGeom prst="rect">
            <a:avLst/>
          </a:prstGeom>
        </p:spPr>
      </p:pic>
      <p:sp>
        <p:nvSpPr>
          <p:cNvPr id="24" name="TextBox 23"/>
          <p:cNvSpPr txBox="1"/>
          <p:nvPr/>
        </p:nvSpPr>
        <p:spPr>
          <a:xfrm>
            <a:off x="534577" y="3492285"/>
            <a:ext cx="1549587" cy="1501373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051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Анкетирование педагогов на предмет их теоретических и практических знаний по вопросам годовой задачи. Анализ полученных данных.</a:t>
            </a:r>
          </a:p>
          <a:p>
            <a:pPr algn="ctr">
              <a:lnSpc>
                <a:spcPct val="107000"/>
              </a:lnSpc>
            </a:pPr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 ЧАС</a:t>
            </a:r>
            <a:endParaRPr lang="ru-RU" sz="12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" name="Подзаголовок 2"/>
          <p:cNvSpPr txBox="1">
            <a:spLocks/>
          </p:cNvSpPr>
          <p:nvPr/>
        </p:nvSpPr>
        <p:spPr>
          <a:xfrm>
            <a:off x="2475170" y="3156009"/>
            <a:ext cx="3556911" cy="2903488"/>
          </a:xfrm>
          <a:prstGeom prst="rect">
            <a:avLst/>
          </a:prstGeom>
          <a:ln w="38100">
            <a:solidFill>
              <a:srgbClr val="00B0F0"/>
            </a:solidFill>
          </a:ln>
        </p:spPr>
        <p:txBody>
          <a:bodyPr vert="horz" lIns="91440" tIns="45720" rIns="91440" bIns="45720" rtlCol="0">
            <a:normAutofit fontScale="25000" lnSpcReduction="2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latin typeface="Arial Black" panose="020B0A0402010202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одготовка к педсовету</a:t>
            </a:r>
            <a:endParaRPr lang="ru-RU" sz="40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Bef>
                <a:spcPts val="0"/>
              </a:spcBef>
            </a:pPr>
            <a:r>
              <a:rPr lang="ru-RU" sz="4000" b="1" dirty="0">
                <a:solidFill>
                  <a:srgbClr val="FF0000"/>
                </a:solidFill>
                <a:latin typeface="Arial Black" panose="020B0A040201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8 ЧАСОВ</a:t>
            </a:r>
            <a:endParaRPr lang="ru-RU" sz="4000" dirty="0">
              <a:latin typeface="Arial Black" panose="020B0A040201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разработка плана проведения педагогического совета учреждения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гласование и утверждение плана на малом аппаратном совещании, утверждение ответственных лиц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издание приказа о проведении педагогического совета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.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разработка справки по результатам анализа состояния работы учреждения по проблеме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сопровождение, оказание консультативной помощи ответственным лицам в подготовке материалов к педагогическому совету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 часа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07000"/>
              </a:lnSpc>
              <a:spcBef>
                <a:spcPts val="600"/>
              </a:spcBef>
            </a:pPr>
            <a:r>
              <a:rPr lang="ru-RU" sz="40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</a:t>
            </a:r>
            <a:r>
              <a:rPr lang="ru-RU" sz="40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загрузка всех материалов на стационарный девайс (компьютер, ноутбук) для самостоятельного ознакомления с ними педагогов; </a:t>
            </a:r>
            <a:r>
              <a:rPr lang="ru-RU" sz="40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40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</a:pPr>
            <a:r>
              <a:rPr lang="ru-RU" sz="48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4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just">
              <a:spcBef>
                <a:spcPts val="0"/>
              </a:spcBef>
            </a:pPr>
            <a:endParaRPr lang="ru-RU" sz="4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69494" y="3985649"/>
            <a:ext cx="420845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11" name="Стрелка вправо 10"/>
          <p:cNvSpPr/>
          <p:nvPr/>
        </p:nvSpPr>
        <p:spPr>
          <a:xfrm>
            <a:off x="2128405" y="3985969"/>
            <a:ext cx="285152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6498967" y="3694436"/>
            <a:ext cx="1368684" cy="839076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txBody>
          <a:bodyPr wrap="square" rtlCol="0">
            <a:spAutoFit/>
          </a:bodyPr>
          <a:lstStyle/>
          <a:p>
            <a:pPr algn="ctr">
              <a:lnSpc>
                <a:spcPct val="107000"/>
              </a:lnSpc>
            </a:pPr>
            <a:r>
              <a:rPr lang="ru-RU" sz="1200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Педагогический совет</a:t>
            </a:r>
          </a:p>
          <a:p>
            <a:pPr algn="ctr">
              <a:lnSpc>
                <a:spcPct val="107000"/>
              </a:lnSpc>
            </a:pPr>
            <a:r>
              <a:rPr lang="ru-RU" sz="1200" b="1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0 МИНУТ</a:t>
            </a:r>
            <a:endParaRPr lang="ru-RU" sz="1200" dirty="0">
              <a:solidFill>
                <a:srgbClr val="FF0000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endParaRPr lang="ru-RU" sz="10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3" name="Стрелка вправо 12"/>
          <p:cNvSpPr/>
          <p:nvPr/>
        </p:nvSpPr>
        <p:spPr>
          <a:xfrm>
            <a:off x="6053290" y="3985650"/>
            <a:ext cx="424467" cy="256651"/>
          </a:xfrm>
          <a:prstGeom prst="rightArrow">
            <a:avLst/>
          </a:prstGeom>
          <a:solidFill>
            <a:srgbClr val="FFFF0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ln>
                <a:solidFill>
                  <a:srgbClr val="FFFF00"/>
                </a:solidFill>
              </a:ln>
              <a:solidFill>
                <a:srgbClr val="FFFF00"/>
              </a:solidFill>
            </a:endParaRPr>
          </a:p>
        </p:txBody>
      </p:sp>
      <p:sp>
        <p:nvSpPr>
          <p:cNvPr id="14" name="Выноска-облако 13"/>
          <p:cNvSpPr/>
          <p:nvPr/>
        </p:nvSpPr>
        <p:spPr>
          <a:xfrm>
            <a:off x="3213389" y="929933"/>
            <a:ext cx="752475" cy="35242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ru-RU" sz="1100" dirty="0">
              <a:solidFill>
                <a:schemeClr val="accent3">
                  <a:lumMod val="60000"/>
                  <a:lumOff val="4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Выноска-облако 14"/>
          <p:cNvSpPr/>
          <p:nvPr/>
        </p:nvSpPr>
        <p:spPr>
          <a:xfrm>
            <a:off x="6374086" y="3383020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Выноска-облако 16"/>
          <p:cNvSpPr/>
          <p:nvPr/>
        </p:nvSpPr>
        <p:spPr>
          <a:xfrm>
            <a:off x="2475170" y="3044377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8" name="Выноска-облако 17"/>
          <p:cNvSpPr/>
          <p:nvPr/>
        </p:nvSpPr>
        <p:spPr>
          <a:xfrm>
            <a:off x="4268649" y="2804336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Выноска-облако 18"/>
          <p:cNvSpPr/>
          <p:nvPr/>
        </p:nvSpPr>
        <p:spPr>
          <a:xfrm>
            <a:off x="5602783" y="2894625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3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Выноска-облако 19"/>
          <p:cNvSpPr/>
          <p:nvPr/>
        </p:nvSpPr>
        <p:spPr>
          <a:xfrm>
            <a:off x="1557273" y="3156009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Выноска-облако 20"/>
          <p:cNvSpPr/>
          <p:nvPr/>
        </p:nvSpPr>
        <p:spPr>
          <a:xfrm>
            <a:off x="305849" y="3156009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Выноска-облако 21"/>
          <p:cNvSpPr/>
          <p:nvPr/>
        </p:nvSpPr>
        <p:spPr>
          <a:xfrm>
            <a:off x="7462795" y="3434182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4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Выноска-облако 22"/>
          <p:cNvSpPr/>
          <p:nvPr/>
        </p:nvSpPr>
        <p:spPr>
          <a:xfrm>
            <a:off x="339392" y="4798755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400" b="1" dirty="0">
                <a:solidFill>
                  <a:schemeClr val="accent3">
                    <a:lumMod val="60000"/>
                    <a:lumOff val="40000"/>
                  </a:schemeClr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6" name="Выноска-облако 25"/>
          <p:cNvSpPr/>
          <p:nvPr/>
        </p:nvSpPr>
        <p:spPr>
          <a:xfrm>
            <a:off x="7576619" y="4242300"/>
            <a:ext cx="624483" cy="389805"/>
          </a:xfrm>
          <a:prstGeom prst="cloudCallout">
            <a:avLst>
              <a:gd name="adj1" fmla="val -13141"/>
              <a:gd name="adj2" fmla="val 49017"/>
            </a:avLst>
          </a:prstGeom>
          <a:solidFill>
            <a:schemeClr val="accent3">
              <a:lumMod val="20000"/>
              <a:lumOff val="80000"/>
            </a:schemeClr>
          </a:solidFill>
          <a:ln w="12700" cap="flat" cmpd="sng" algn="ctr">
            <a:solidFill>
              <a:srgbClr val="5B9BD5"/>
            </a:solidFill>
            <a:prstDash val="solid"/>
            <a:miter lim="800000"/>
          </a:ln>
          <a:effectLst/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ru-RU" sz="16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ru-RU" sz="1600" b="1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endParaRPr lang="ru-RU" sz="12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424203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38</TotalTime>
  <Words>2038</Words>
  <Application>Microsoft Office PowerPoint</Application>
  <PresentationFormat>Экран (4:3)</PresentationFormat>
  <Paragraphs>266</Paragraphs>
  <Slides>8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5" baseType="lpstr">
      <vt:lpstr>Microsoft YaHei</vt:lpstr>
      <vt:lpstr>Arial</vt:lpstr>
      <vt:lpstr>Arial Black</vt:lpstr>
      <vt:lpstr>Calibri</vt:lpstr>
      <vt:lpstr>Times New Roman</vt:lpstr>
      <vt:lpstr>16_RDM027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Карта ТЕКУЩЕГО СОСТОЯНИЯ ПРОЦЕССА:  «ОПТИМИЗАЦИЯ ПРОЦЕССА РАБОТЫ МЕТОДИЧЕСКОЙ СЛУЖБЫ ДОУ В РАМКАХ РЕШЕНИЯ ГОДОВЫХ ЗАДАЧ В МБДОУ ДЕТСКИЙ САД №85».</vt:lpstr>
      <vt:lpstr>Карта ТЕКУЩЕГО СОСТОЯНИЯ процесса:  «ОПТИМИЗАЦИЯ ПРОЦЕССА РАБОТЫ МЕТОДИЧЕСКОЙ СЛУЖБЫ ДОУ В РАМКАХ РЕШЕНИЯ ГОДОВЫХ ЗАДАЧ В МБДОУ ДЕТСКИЙ САД №85».</vt:lpstr>
      <vt:lpstr>Карта ЦЕЛЕВОГО СОСТОЯНИЯ проЦЕССА:  «ОПТИМИЗАЦИЯ ПРОЦЕССА РАБОТЫ МЕТОДИЧЕСКОЙ СЛУЖБЫ ДОУ В РАМКАХ РЕШЕНИЯ ГОДОВЫХ ЗАДАЧ В МБДОУ ДЕТСКИЙ САД №85».</vt:lpstr>
      <vt:lpstr>Карта ЦЕЛЕВОГО СОСТОЯНИЯ проЦЕССА:  «ОПТИМИЗАЦИЯ ПРОЦЕССА РАБОТЫ МЕТОДИЧЕСКОЙ СЛУЖБЫ ДОУ В РАМКАХ РЕШЕНИЯ ГОДОВЫХ ЗАДАЧ В МБДОУ ДЕТСКИЙ САД №85».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лег Пырсин</dc:creator>
  <cp:lastModifiedBy>Олег Пырсин</cp:lastModifiedBy>
  <cp:revision>53</cp:revision>
  <dcterms:created xsi:type="dcterms:W3CDTF">2020-01-21T10:16:05Z</dcterms:created>
  <dcterms:modified xsi:type="dcterms:W3CDTF">2020-01-22T09:04:08Z</dcterms:modified>
</cp:coreProperties>
</file>